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8" r:id="rId1"/>
  </p:sldMasterIdLst>
  <p:notesMasterIdLst>
    <p:notesMasterId r:id="rId136"/>
  </p:notesMasterIdLst>
  <p:sldIdLst>
    <p:sldId id="400" r:id="rId2"/>
    <p:sldId id="301" r:id="rId3"/>
    <p:sldId id="306" r:id="rId4"/>
    <p:sldId id="307" r:id="rId5"/>
    <p:sldId id="308" r:id="rId6"/>
    <p:sldId id="309" r:id="rId7"/>
    <p:sldId id="310" r:id="rId8"/>
    <p:sldId id="311" r:id="rId9"/>
    <p:sldId id="312" r:id="rId10"/>
    <p:sldId id="313" r:id="rId11"/>
    <p:sldId id="314" r:id="rId12"/>
    <p:sldId id="315" r:id="rId13"/>
    <p:sldId id="316" r:id="rId14"/>
    <p:sldId id="317" r:id="rId15"/>
    <p:sldId id="318" r:id="rId16"/>
    <p:sldId id="319" r:id="rId17"/>
    <p:sldId id="320" r:id="rId18"/>
    <p:sldId id="321" r:id="rId19"/>
    <p:sldId id="322" r:id="rId20"/>
    <p:sldId id="323" r:id="rId21"/>
    <p:sldId id="343" r:id="rId22"/>
    <p:sldId id="344" r:id="rId23"/>
    <p:sldId id="345" r:id="rId24"/>
    <p:sldId id="346" r:id="rId25"/>
    <p:sldId id="347" r:id="rId26"/>
    <p:sldId id="348" r:id="rId27"/>
    <p:sldId id="349" r:id="rId28"/>
    <p:sldId id="350" r:id="rId29"/>
    <p:sldId id="351" r:id="rId30"/>
    <p:sldId id="352" r:id="rId31"/>
    <p:sldId id="353" r:id="rId32"/>
    <p:sldId id="354" r:id="rId33"/>
    <p:sldId id="355" r:id="rId34"/>
    <p:sldId id="356" r:id="rId35"/>
    <p:sldId id="357" r:id="rId36"/>
    <p:sldId id="358" r:id="rId37"/>
    <p:sldId id="359" r:id="rId38"/>
    <p:sldId id="360" r:id="rId39"/>
    <p:sldId id="361" r:id="rId40"/>
    <p:sldId id="362" r:id="rId41"/>
    <p:sldId id="363" r:id="rId42"/>
    <p:sldId id="364" r:id="rId43"/>
    <p:sldId id="365" r:id="rId44"/>
    <p:sldId id="366" r:id="rId45"/>
    <p:sldId id="367" r:id="rId46"/>
    <p:sldId id="368" r:id="rId47"/>
    <p:sldId id="369" r:id="rId48"/>
    <p:sldId id="370" r:id="rId49"/>
    <p:sldId id="371" r:id="rId50"/>
    <p:sldId id="372" r:id="rId51"/>
    <p:sldId id="373" r:id="rId52"/>
    <p:sldId id="374" r:id="rId53"/>
    <p:sldId id="375" r:id="rId54"/>
    <p:sldId id="376" r:id="rId55"/>
    <p:sldId id="377" r:id="rId56"/>
    <p:sldId id="378" r:id="rId57"/>
    <p:sldId id="379" r:id="rId58"/>
    <p:sldId id="305" r:id="rId59"/>
    <p:sldId id="381" r:id="rId60"/>
    <p:sldId id="382" r:id="rId61"/>
    <p:sldId id="383" r:id="rId62"/>
    <p:sldId id="384" r:id="rId63"/>
    <p:sldId id="385" r:id="rId64"/>
    <p:sldId id="386" r:id="rId65"/>
    <p:sldId id="387" r:id="rId66"/>
    <p:sldId id="388" r:id="rId67"/>
    <p:sldId id="389" r:id="rId68"/>
    <p:sldId id="390" r:id="rId69"/>
    <p:sldId id="391" r:id="rId70"/>
    <p:sldId id="392" r:id="rId71"/>
    <p:sldId id="393" r:id="rId72"/>
    <p:sldId id="394" r:id="rId73"/>
    <p:sldId id="395" r:id="rId74"/>
    <p:sldId id="396" r:id="rId75"/>
    <p:sldId id="397" r:id="rId76"/>
    <p:sldId id="398" r:id="rId77"/>
    <p:sldId id="399" r:id="rId78"/>
    <p:sldId id="380" r:id="rId79"/>
    <p:sldId id="296" r:id="rId80"/>
    <p:sldId id="401" r:id="rId81"/>
    <p:sldId id="402" r:id="rId82"/>
    <p:sldId id="403" r:id="rId83"/>
    <p:sldId id="404" r:id="rId84"/>
    <p:sldId id="405" r:id="rId85"/>
    <p:sldId id="406" r:id="rId86"/>
    <p:sldId id="407" r:id="rId87"/>
    <p:sldId id="408" r:id="rId88"/>
    <p:sldId id="409" r:id="rId89"/>
    <p:sldId id="410" r:id="rId90"/>
    <p:sldId id="411" r:id="rId91"/>
    <p:sldId id="412" r:id="rId92"/>
    <p:sldId id="413" r:id="rId93"/>
    <p:sldId id="414" r:id="rId94"/>
    <p:sldId id="415" r:id="rId95"/>
    <p:sldId id="416" r:id="rId96"/>
    <p:sldId id="417" r:id="rId97"/>
    <p:sldId id="418" r:id="rId98"/>
    <p:sldId id="419" r:id="rId99"/>
    <p:sldId id="420" r:id="rId100"/>
    <p:sldId id="421" r:id="rId101"/>
    <p:sldId id="422" r:id="rId102"/>
    <p:sldId id="423" r:id="rId103"/>
    <p:sldId id="424" r:id="rId104"/>
    <p:sldId id="426" r:id="rId105"/>
    <p:sldId id="425" r:id="rId106"/>
    <p:sldId id="427" r:id="rId107"/>
    <p:sldId id="428" r:id="rId108"/>
    <p:sldId id="429" r:id="rId109"/>
    <p:sldId id="430" r:id="rId110"/>
    <p:sldId id="431" r:id="rId111"/>
    <p:sldId id="432" r:id="rId112"/>
    <p:sldId id="433" r:id="rId113"/>
    <p:sldId id="434" r:id="rId114"/>
    <p:sldId id="435" r:id="rId115"/>
    <p:sldId id="436" r:id="rId116"/>
    <p:sldId id="437" r:id="rId117"/>
    <p:sldId id="438" r:id="rId118"/>
    <p:sldId id="439" r:id="rId119"/>
    <p:sldId id="440" r:id="rId120"/>
    <p:sldId id="441" r:id="rId121"/>
    <p:sldId id="442" r:id="rId122"/>
    <p:sldId id="443" r:id="rId123"/>
    <p:sldId id="444" r:id="rId124"/>
    <p:sldId id="445" r:id="rId125"/>
    <p:sldId id="446" r:id="rId126"/>
    <p:sldId id="447" r:id="rId127"/>
    <p:sldId id="448" r:id="rId128"/>
    <p:sldId id="449" r:id="rId129"/>
    <p:sldId id="450" r:id="rId130"/>
    <p:sldId id="451" r:id="rId131"/>
    <p:sldId id="452" r:id="rId132"/>
    <p:sldId id="453" r:id="rId133"/>
    <p:sldId id="454" r:id="rId134"/>
    <p:sldId id="455" r:id="rId135"/>
  </p:sldIdLst>
  <p:sldSz cx="12192000" cy="6858000"/>
  <p:notesSz cx="6858000" cy="9144000"/>
  <p:embeddedFontLst>
    <p:embeddedFont>
      <p:font typeface="Aptos" panose="020B0004020202020204" pitchFamily="34" charset="0"/>
      <p:regular r:id="rId137"/>
      <p:bold r:id="rId138"/>
      <p:italic r:id="rId139"/>
      <p:boldItalic r:id="rId140"/>
    </p:embeddedFont>
    <p:embeddedFont>
      <p:font typeface="Aptos Display" panose="020B0004020202020204" pitchFamily="34" charset="0"/>
      <p:regular r:id="rId141"/>
      <p:bold r:id="rId142"/>
      <p:italic r:id="rId143"/>
      <p:boldItalic r:id="rId144"/>
    </p:embeddedFont>
    <p:embeddedFont>
      <p:font typeface="Tahoma" panose="020B0604030504040204" pitchFamily="34" charset="0"/>
      <p:regular r:id="rId145"/>
      <p:bold r:id="rId14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AA00"/>
    <a:srgbClr val="BE2124"/>
    <a:srgbClr val="FF0066"/>
    <a:srgbClr val="EDEAF1"/>
    <a:srgbClr val="F7F7F7"/>
    <a:srgbClr val="F1C952"/>
    <a:srgbClr val="E0D164"/>
    <a:srgbClr val="FF00FF"/>
    <a:srgbClr val="68000A"/>
    <a:srgbClr val="A704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65" autoAdjust="0"/>
    <p:restoredTop sz="90927" autoAdjust="0"/>
  </p:normalViewPr>
  <p:slideViewPr>
    <p:cSldViewPr showGuides="1">
      <p:cViewPr varScale="1">
        <p:scale>
          <a:sx n="67" d="100"/>
          <a:sy n="67" d="100"/>
        </p:scale>
        <p:origin x="786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font" Target="fonts/font2.fntdata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theme" Target="theme/theme1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font" Target="fonts/font3.fntdata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tableStyles" Target="tableStyle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font" Target="fonts/font4.fntdata"/><Relationship Id="rId145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font" Target="fonts/font5.fntdata"/><Relationship Id="rId146" Type="http://schemas.openxmlformats.org/officeDocument/2006/relationships/font" Target="fonts/font10.fntdata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font" Target="fonts/font6.fntdata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font" Target="fonts/font1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font" Target="fonts/font7.fntdata"/><Relationship Id="rId14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font" Target="fonts/font8.fntdata"/><Relationship Id="rId90" Type="http://schemas.openxmlformats.org/officeDocument/2006/relationships/slide" Target="slides/slide8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7F2B70-10E7-42BC-BA9C-CC1013BD4E8C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19BDD8-CB5E-4ED3-97B7-C9E4B70DB6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311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45A65-616C-32A2-5F5D-F478E3DD24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151961-6E51-653E-6302-48DC4AA790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11DE88-6CCC-02B9-1B0B-7381A5AC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66B9EE-CF54-4DF2-8AD6-7EC2AA6CB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A693D6-3FA3-A603-44C1-10E03C6F7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3229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95CF8A-5F0A-EEC1-2B1E-1B1E65768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136032-95B2-9458-B925-4EAE550C3E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4E984C-3597-09B2-1F49-061B12976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5E8EB6-67C5-80EB-CC68-D562C0DD4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6BE250-B85C-0A17-4016-14DDB8D64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744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9A302CC-B51F-5D0A-CEDF-EAA1B83837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B4DE58-48BB-464E-FBBE-1239D9012A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5A49FA-2AF4-8AA0-29EE-9FDB47950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5DA3CD-EF75-6808-3337-EEFF9FE8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29BDD-4188-59DC-3E43-44A3966FF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027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626CC-ACD7-EA6C-17FF-A618DC5E5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4B76E0-707F-2539-5162-5C309BA97C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6C6229-4CF1-43B7-9B3B-E8014BC706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75C26-13CB-695A-86EE-109A7E2C1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BCF594-4CB1-6253-4BDA-784E323C3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079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D28E4A-EA9B-CF9D-7F4A-8A6D2AC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A82B69-C070-4070-BF81-EDC4803025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600F96-7CED-376D-B029-33A639994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3AC4E5-E5A7-8BD1-209F-82EAF881A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2FE5C-6C73-44D3-9812-1A64C3398D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98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89D28-A962-2B50-5DE0-4D92271FC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3D3CA9-3E53-7DF3-BDC7-4E4F657D17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D4483-B466-6163-82E0-5B095561FE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9F5E64-C8F5-7C8A-7008-B2E94DBC5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429915-590B-32CE-B143-736BCBFF5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82BC6C-CFFD-CEBF-8644-8ACD77FBA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571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071D1-8DE4-AFAB-B4BB-36A61A7B3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A56ED8-93CF-6CD5-A629-72157FA0DE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0BD42C-3257-274C-48C9-2E6621055F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B07902-2D49-335D-958A-3A238D7752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7C5AE9-B383-1949-D17F-F2B072E8BA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0D24A8-793C-A27D-07F7-0C689ECAA9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F2428E-9E2D-B83E-C769-08C4CFA21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8D4027C-84DC-F594-9E6D-28296569F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20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6CF0E-7F8F-24DB-DB62-6B661E708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4EDAA4-4E52-5FDE-59C1-10CCA06DC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944E60-30F9-284B-B639-F4976DB70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5FD4FB-29F7-492A-8020-A55023486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59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EC9BF-FF77-4B07-77F6-E4F9D0FB2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559178-AC26-1581-0D16-BBE6845D9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FF3292-8DAA-A7FB-05AC-87A4C217B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7837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C840E-51AC-A1D4-8CF2-0681F1CC9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001722-875B-FBD8-782D-30B1D1040D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2FD9BF-A3FA-5210-1CCD-12E0D2C794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829780-6927-BBF4-590D-9343175D4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65C8BA-6A02-9F27-6A75-CD7E6082E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5E50E-2D84-99C2-8F65-7CC7458F7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303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FAE-9905-18B4-532C-DF351A4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2C7707-2A45-DC85-6A22-2BCC25B49D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FA0C7-0512-3A62-A98B-982DF5CA14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41F033-8EC6-EA41-AC52-271F47BAB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F22EB2-C60D-3DF7-0396-764518E06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50043A-D1E2-A5E1-9A90-C08FC613A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057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26461B-2A6F-1902-ED63-B98C2D58E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71B55E-2E95-9649-8EC7-5A46832814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936E7F-19D4-4A66-AF9E-75EDE2AED5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A6CDD59-91AC-4B84-B38F-2C507C6741B7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29CD02-EE5F-1D91-31A6-229CF64D1E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A3BBB-FF17-6DCA-B71F-898ECABC9C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CDD64A1-4341-4D94-9572-D78DB7D01B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343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12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12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0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1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3.wdp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1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3.wdp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6" Type="http://schemas.openxmlformats.org/officeDocument/2006/relationships/image" Target="../media/image5.png"/><Relationship Id="rId11" Type="http://schemas.openxmlformats.org/officeDocument/2006/relationships/image" Target="../media/image68.png"/><Relationship Id="rId5" Type="http://schemas.openxmlformats.org/officeDocument/2006/relationships/image" Target="../media/image4.png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1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3.wdp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8.xml"/><Relationship Id="rId6" Type="http://schemas.openxmlformats.org/officeDocument/2006/relationships/image" Target="../media/image5.png"/><Relationship Id="rId11" Type="http://schemas.openxmlformats.org/officeDocument/2006/relationships/image" Target="../media/image69.png"/><Relationship Id="rId5" Type="http://schemas.openxmlformats.org/officeDocument/2006/relationships/image" Target="../media/image4.png"/><Relationship Id="rId10" Type="http://schemas.microsoft.com/office/2007/relationships/hdphoto" Target="../media/hdphoto2.wdp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12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9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3.xml"/><Relationship Id="rId6" Type="http://schemas.openxmlformats.org/officeDocument/2006/relationships/image" Target="../media/image5.png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microsoft.com/office/2007/relationships/hdphoto" Target="../media/hdphoto2.wdp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9.xml"/><Relationship Id="rId6" Type="http://schemas.openxmlformats.org/officeDocument/2006/relationships/image" Target="../media/image5.png"/><Relationship Id="rId11" Type="http://schemas.openxmlformats.org/officeDocument/2006/relationships/image" Target="../media/image69.png"/><Relationship Id="rId5" Type="http://schemas.openxmlformats.org/officeDocument/2006/relationships/image" Target="../media/image4.png"/><Relationship Id="rId10" Type="http://schemas.microsoft.com/office/2007/relationships/hdphoto" Target="../media/hdphoto2.wdp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CADE8DC9-4906-5C47-370C-071A65461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24" name="Picture 23" descr="A circular pattern with animals and symbols&#10;&#10;Description automatically generated">
            <a:extLst>
              <a:ext uri="{FF2B5EF4-FFF2-40B4-BE49-F238E27FC236}">
                <a16:creationId xmlns:a16="http://schemas.microsoft.com/office/drawing/2014/main" id="{64A45422-4132-5F2C-5740-B9971ABD9B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1" r="6184"/>
          <a:stretch/>
        </p:blipFill>
        <p:spPr>
          <a:xfrm>
            <a:off x="3170394" y="-1"/>
            <a:ext cx="9014208" cy="302697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990E22B-B33F-4AAB-BAA4-26B8215846AD}"/>
              </a:ext>
            </a:extLst>
          </p:cNvPr>
          <p:cNvGrpSpPr/>
          <p:nvPr/>
        </p:nvGrpSpPr>
        <p:grpSpPr>
          <a:xfrm>
            <a:off x="-83565" y="19318"/>
            <a:ext cx="5236317" cy="6819364"/>
            <a:chOff x="-83565" y="19318"/>
            <a:chExt cx="5236317" cy="6819364"/>
          </a:xfrm>
        </p:grpSpPr>
        <p:pic>
          <p:nvPicPr>
            <p:cNvPr id="17" name="picRemDo">
              <a:extLst>
                <a:ext uri="{FF2B5EF4-FFF2-40B4-BE49-F238E27FC236}">
                  <a16:creationId xmlns:a16="http://schemas.microsoft.com/office/drawing/2014/main" id="{50D5481A-3E26-44AD-AF85-193BE2FF6F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20" t="447" b="3607"/>
            <a:stretch/>
          </p:blipFill>
          <p:spPr>
            <a:xfrm>
              <a:off x="-83565" y="19318"/>
              <a:ext cx="5236317" cy="6819364"/>
            </a:xfrm>
            <a:prstGeom prst="rect">
              <a:avLst/>
            </a:prstGeom>
          </p:spPr>
        </p:pic>
        <p:pic>
          <p:nvPicPr>
            <p:cNvPr id="18" name="picBuaLiemVang">
              <a:extLst>
                <a:ext uri="{FF2B5EF4-FFF2-40B4-BE49-F238E27FC236}">
                  <a16:creationId xmlns:a16="http://schemas.microsoft.com/office/drawing/2014/main" id="{79E752E7-265A-4C19-90D8-15F5F8A11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2285" y="450061"/>
              <a:ext cx="1219200" cy="1063425"/>
            </a:xfrm>
            <a:prstGeom prst="rect">
              <a:avLst/>
            </a:prstGeom>
          </p:spPr>
        </p:pic>
      </p:grpSp>
      <p:pic>
        <p:nvPicPr>
          <p:cNvPr id="11" name="Picture 10" descr="A red fabric in the air&#10;&#10;Description automatically generated">
            <a:extLst>
              <a:ext uri="{FF2B5EF4-FFF2-40B4-BE49-F238E27FC236}">
                <a16:creationId xmlns:a16="http://schemas.microsoft.com/office/drawing/2014/main" id="{AE70BDFF-E0D9-CB1C-2EEB-A180A5B147F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6" t="32500" b="43467"/>
          <a:stretch/>
        </p:blipFill>
        <p:spPr>
          <a:xfrm>
            <a:off x="0" y="5581651"/>
            <a:ext cx="5236317" cy="12763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A2B8528-A868-029D-A7FA-582D6D707C74}"/>
              </a:ext>
            </a:extLst>
          </p:cNvPr>
          <p:cNvGrpSpPr/>
          <p:nvPr/>
        </p:nvGrpSpPr>
        <p:grpSpPr>
          <a:xfrm>
            <a:off x="9594593" y="646651"/>
            <a:ext cx="2193547" cy="878057"/>
            <a:chOff x="4762196" y="2546149"/>
            <a:chExt cx="4411048" cy="1765702"/>
          </a:xfrm>
        </p:grpSpPr>
        <p:pic>
          <p:nvPicPr>
            <p:cNvPr id="14" name="Picture 13" descr="A red flag with a yellow symbol&#10;&#10;Description automatically generated">
              <a:extLst>
                <a:ext uri="{FF2B5EF4-FFF2-40B4-BE49-F238E27FC236}">
                  <a16:creationId xmlns:a16="http://schemas.microsoft.com/office/drawing/2014/main" id="{6DF0E4FE-475C-6508-7223-2CADAAA9F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2196" y="2552500"/>
              <a:ext cx="2667608" cy="1752999"/>
            </a:xfrm>
            <a:prstGeom prst="rect">
              <a:avLst/>
            </a:prstGeom>
          </p:spPr>
        </p:pic>
        <p:pic>
          <p:nvPicPr>
            <p:cNvPr id="15" name="Picture 14" descr="A red flag with a yellow star&#10;&#10;Description automatically generated">
              <a:extLst>
                <a:ext uri="{FF2B5EF4-FFF2-40B4-BE49-F238E27FC236}">
                  <a16:creationId xmlns:a16="http://schemas.microsoft.com/office/drawing/2014/main" id="{575A1461-B7D6-2FB3-42E7-63DAB2DD5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5636" y="2546149"/>
              <a:ext cx="2667608" cy="1765702"/>
            </a:xfrm>
            <a:prstGeom prst="rect">
              <a:avLst/>
            </a:prstGeom>
          </p:spPr>
        </p:pic>
      </p:grpSp>
      <p:pic>
        <p:nvPicPr>
          <p:cNvPr id="12" name="Picture 11" descr="C:\Users\Duong\Downloads\png 3.png">
            <a:extLst>
              <a:ext uri="{FF2B5EF4-FFF2-40B4-BE49-F238E27FC236}">
                <a16:creationId xmlns:a16="http://schemas.microsoft.com/office/drawing/2014/main" id="{23D69416-17F0-4B75-BD86-166F26006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16" y="3124200"/>
            <a:ext cx="8856784" cy="369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9796B06-D7B1-EE77-8A3F-CD581B199A9A}"/>
              </a:ext>
            </a:extLst>
          </p:cNvPr>
          <p:cNvSpPr txBox="1"/>
          <p:nvPr/>
        </p:nvSpPr>
        <p:spPr>
          <a:xfrm>
            <a:off x="3992225" y="2598025"/>
            <a:ext cx="7797326" cy="1800755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AN CHẤP</a:t>
            </a:r>
            <a:r>
              <a:rPr kumimoji="0" lang="en-US" sz="7000" b="1" i="0" u="none" strike="noStrike" kern="1200" cap="none" spc="0" normalizeH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HÀNH</a:t>
            </a:r>
            <a:endParaRPr kumimoji="0" lang="en-US" sz="70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NHIỆM</a:t>
            </a:r>
            <a:r>
              <a:rPr kumimoji="0" lang="en-US" sz="4200" b="1" i="0" u="none" strike="noStrike" kern="1200" cap="none" spc="0" normalizeH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US" sz="4200" b="1" i="0" u="none" strike="noStrike" kern="1200" cap="none" spc="0" normalizeH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KỲ 2025 - 2030</a:t>
            </a:r>
            <a:endParaRPr kumimoji="0" lang="vi-VN" sz="42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30090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84312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Ỉ HUY TRƯỞNG BCH QUÂN SỰ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29551A8-4ECC-47E4-ADE8-F36F773BDE5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473905-FDBE-4047-A6E5-B8C1FE7D80AB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5288C28-4ED1-4561-B004-F74698EDE0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EE766FE-446F-4550-8FA0-260DE97432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668B3F3-6A1F-45D7-A82B-151A08D70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AF1BC93-AE6E-413D-A6E4-3027E313D8A5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1C145A1-0922-4BED-AC32-325EAF4F575D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47FD3F6-4F24-4295-B960-A85EC52DAF3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C2F635A-7DBA-40C5-8CBD-6FA7211557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E4A87915-A3AB-4B1E-AFE6-D70412B6A29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BC5B4B6C-15D6-4423-B82C-894F03AEBBA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E968B9C-2D30-4515-8D40-57531051756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VĂN HÙ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3659503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CADE8DC9-4906-5C47-370C-071A65461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24" name="Picture 23" descr="A circular pattern with animals and symbols&#10;&#10;Description automatically generated">
            <a:extLst>
              <a:ext uri="{FF2B5EF4-FFF2-40B4-BE49-F238E27FC236}">
                <a16:creationId xmlns:a16="http://schemas.microsoft.com/office/drawing/2014/main" id="{64A45422-4132-5F2C-5740-B9971ABD9B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1" r="6184"/>
          <a:stretch/>
        </p:blipFill>
        <p:spPr>
          <a:xfrm>
            <a:off x="3170394" y="-1"/>
            <a:ext cx="9014208" cy="302697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D2FB9A9-4319-4C9D-A46B-4A78E8968F10}"/>
              </a:ext>
            </a:extLst>
          </p:cNvPr>
          <p:cNvGrpSpPr/>
          <p:nvPr/>
        </p:nvGrpSpPr>
        <p:grpSpPr>
          <a:xfrm>
            <a:off x="-83565" y="19318"/>
            <a:ext cx="5236317" cy="6819364"/>
            <a:chOff x="-83565" y="19318"/>
            <a:chExt cx="5236317" cy="6819364"/>
          </a:xfrm>
        </p:grpSpPr>
        <p:pic>
          <p:nvPicPr>
            <p:cNvPr id="17" name="picRemDo">
              <a:extLst>
                <a:ext uri="{FF2B5EF4-FFF2-40B4-BE49-F238E27FC236}">
                  <a16:creationId xmlns:a16="http://schemas.microsoft.com/office/drawing/2014/main" id="{13EAA176-0F1B-401B-A35B-401B62650C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20" t="447" b="3607"/>
            <a:stretch/>
          </p:blipFill>
          <p:spPr>
            <a:xfrm>
              <a:off x="-83565" y="19318"/>
              <a:ext cx="5236317" cy="6819364"/>
            </a:xfrm>
            <a:prstGeom prst="rect">
              <a:avLst/>
            </a:prstGeom>
          </p:spPr>
        </p:pic>
        <p:pic>
          <p:nvPicPr>
            <p:cNvPr id="18" name="picBuaLiemVang">
              <a:extLst>
                <a:ext uri="{FF2B5EF4-FFF2-40B4-BE49-F238E27FC236}">
                  <a16:creationId xmlns:a16="http://schemas.microsoft.com/office/drawing/2014/main" id="{D154FF63-38E7-4DD0-ACF5-E9F305513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2285" y="450061"/>
              <a:ext cx="1219200" cy="1063425"/>
            </a:xfrm>
            <a:prstGeom prst="rect">
              <a:avLst/>
            </a:prstGeom>
          </p:spPr>
        </p:pic>
      </p:grpSp>
      <p:pic>
        <p:nvPicPr>
          <p:cNvPr id="11" name="Picture 10" descr="A red fabric in the air&#10;&#10;Description automatically generated">
            <a:extLst>
              <a:ext uri="{FF2B5EF4-FFF2-40B4-BE49-F238E27FC236}">
                <a16:creationId xmlns:a16="http://schemas.microsoft.com/office/drawing/2014/main" id="{AE70BDFF-E0D9-CB1C-2EEB-A180A5B147F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6" t="32500" b="43467"/>
          <a:stretch/>
        </p:blipFill>
        <p:spPr>
          <a:xfrm>
            <a:off x="0" y="5581651"/>
            <a:ext cx="5236317" cy="12763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A2B8528-A868-029D-A7FA-582D6D707C74}"/>
              </a:ext>
            </a:extLst>
          </p:cNvPr>
          <p:cNvGrpSpPr/>
          <p:nvPr/>
        </p:nvGrpSpPr>
        <p:grpSpPr>
          <a:xfrm>
            <a:off x="9594593" y="646651"/>
            <a:ext cx="2193547" cy="878057"/>
            <a:chOff x="4762196" y="2546149"/>
            <a:chExt cx="4411048" cy="1765702"/>
          </a:xfrm>
        </p:grpSpPr>
        <p:pic>
          <p:nvPicPr>
            <p:cNvPr id="14" name="Picture 13" descr="A red flag with a yellow symbol&#10;&#10;Description automatically generated">
              <a:extLst>
                <a:ext uri="{FF2B5EF4-FFF2-40B4-BE49-F238E27FC236}">
                  <a16:creationId xmlns:a16="http://schemas.microsoft.com/office/drawing/2014/main" id="{6DF0E4FE-475C-6508-7223-2CADAAA9F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2196" y="2552500"/>
              <a:ext cx="2667608" cy="1752999"/>
            </a:xfrm>
            <a:prstGeom prst="rect">
              <a:avLst/>
            </a:prstGeom>
          </p:spPr>
        </p:pic>
        <p:pic>
          <p:nvPicPr>
            <p:cNvPr id="15" name="Picture 14" descr="A red flag with a yellow star&#10;&#10;Description automatically generated">
              <a:extLst>
                <a:ext uri="{FF2B5EF4-FFF2-40B4-BE49-F238E27FC236}">
                  <a16:creationId xmlns:a16="http://schemas.microsoft.com/office/drawing/2014/main" id="{575A1461-B7D6-2FB3-42E7-63DAB2DD5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5636" y="2546149"/>
              <a:ext cx="2667608" cy="1765702"/>
            </a:xfrm>
            <a:prstGeom prst="rect">
              <a:avLst/>
            </a:prstGeom>
          </p:spPr>
        </p:pic>
      </p:grpSp>
      <p:pic>
        <p:nvPicPr>
          <p:cNvPr id="19" name="Picture 18" descr="C:\Users\Duong\Downloads\png 3.png">
            <a:extLst>
              <a:ext uri="{FF2B5EF4-FFF2-40B4-BE49-F238E27FC236}">
                <a16:creationId xmlns:a16="http://schemas.microsoft.com/office/drawing/2014/main" id="{01F69D60-3AE0-4218-ADFC-19A65EF31B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16" y="3124200"/>
            <a:ext cx="8856784" cy="369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9796B06-D7B1-EE77-8A3F-CD581B199A9A}"/>
              </a:ext>
            </a:extLst>
          </p:cNvPr>
          <p:cNvSpPr txBox="1"/>
          <p:nvPr/>
        </p:nvSpPr>
        <p:spPr>
          <a:xfrm>
            <a:off x="5210312" y="2598025"/>
            <a:ext cx="6530954" cy="924554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500" b="1"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ĐOÀN ĐẠI BIỂU</a:t>
            </a:r>
            <a:endParaRPr kumimoji="0" lang="en-US" sz="65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5F4A40-C112-4143-A11A-92A1747ADAF8}"/>
              </a:ext>
            </a:extLst>
          </p:cNvPr>
          <p:cNvSpPr txBox="1"/>
          <p:nvPr/>
        </p:nvSpPr>
        <p:spPr>
          <a:xfrm>
            <a:off x="2819400" y="3485712"/>
            <a:ext cx="8921866" cy="588372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sz="3100" b="1" spc="-100"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DỰ ĐẠI HỘI ĐẠI BIỂU TOÀN QUỐC LẦN THỨ XIV</a:t>
            </a:r>
            <a:endParaRPr lang="vi-VN" sz="3100" b="1" spc="-100" dirty="0"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0138101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B23B6CC0-F52C-432E-9B2D-A916088D108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9C3ACDF-8961-4395-A94C-97BDCC3E6B3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609A9C6-89EA-46DE-A0DC-53422A697A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6" name="Light">
                <a:extLst>
                  <a:ext uri="{FF2B5EF4-FFF2-40B4-BE49-F238E27FC236}">
                    <a16:creationId xmlns:a16="http://schemas.microsoft.com/office/drawing/2014/main" id="{6A0E7392-F804-41C5-A6C5-CFAE03B2C3D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37" name="Graphic 30">
                <a:extLst>
                  <a:ext uri="{FF2B5EF4-FFF2-40B4-BE49-F238E27FC236}">
                    <a16:creationId xmlns:a16="http://schemas.microsoft.com/office/drawing/2014/main" id="{2CCCE66E-277A-4B41-A493-9A593A303B8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479CF7F-05D3-4689-B128-79D957570CD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Ồ HẢI</a:t>
              </a:r>
            </a:p>
          </p:txBody>
        </p:sp>
      </p:grpSp>
      <p:sp>
        <p:nvSpPr>
          <p:cNvPr id="38" name="txtChucVu">
            <a:extLst>
              <a:ext uri="{FF2B5EF4-FFF2-40B4-BE49-F238E27FC236}">
                <a16:creationId xmlns:a16="http://schemas.microsoft.com/office/drawing/2014/main" id="{1F118A2E-1F72-4D8B-A4BE-157422B967CF}"/>
              </a:ext>
            </a:extLst>
          </p:cNvPr>
          <p:cNvSpPr txBox="1"/>
          <p:nvPr/>
        </p:nvSpPr>
        <p:spPr>
          <a:xfrm>
            <a:off x="4191000" y="3581400"/>
            <a:ext cx="8001000" cy="9050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b="1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BÍ THƯ TỈNH ỦY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690F82D-552E-4FFB-9A3C-ECE781E63FB2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487DA0A-21F0-4E8A-89BA-A449AED9F9F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0" name="Picture 29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C13A6D5-69AE-4260-BF44-D19A7BA482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5" name="Picture 34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733D7C28-D612-4161-A5A9-389E1B4C37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3" name="Picture 22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DB526C7-B626-46CB-A210-12B29C428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F5C0B45-DE87-4250-AF70-2B7ADDC24CDE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5446702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42" name="txtChucVu">
            <a:extLst>
              <a:ext uri="{FF2B5EF4-FFF2-40B4-BE49-F238E27FC236}">
                <a16:creationId xmlns:a16="http://schemas.microsoft.com/office/drawing/2014/main" id="{429B3D07-D020-4B54-B3CC-B55156C1F210}"/>
              </a:ext>
            </a:extLst>
          </p:cNvPr>
          <p:cNvSpPr txBox="1"/>
          <p:nvPr/>
        </p:nvSpPr>
        <p:spPr>
          <a:xfrm>
            <a:off x="5257800" y="3581400"/>
            <a:ext cx="6761031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BÍ THƯ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36BA18D-B831-4F7E-BAD3-0DAF3B45D16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71AAFA9-C08B-41A1-ADFC-13A4AE6FE38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EC41AAE-237D-48F4-8469-8F43A1D47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19D3DB02-FA4B-4C0E-B716-99222D2DC4A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B85BBE39-E9B9-4F02-A2E2-43EB505A0ED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AA6231C-6ADC-4F89-A5B0-A1345EDCCFBA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VĂN THIỀU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93C7C37-9336-454E-9D8B-007AA915F0A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E860545-93E8-43AD-A031-7CA8D535032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41" name="Picture 4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2550234-6D21-4931-A6C1-B51551A2F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0" name="Picture 49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DA6219C-5945-484C-AE0C-3EB2BD0B6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5" name="Picture 3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735248-85FC-440E-86A0-78E8F10DE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902B8D0-D086-4D8C-8B6B-9466365293BB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8690830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A8C755B-7EFE-48E4-A54D-A78F1337E2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584DC6BB-93BB-43CC-B387-3119DDC93FC5}"/>
              </a:ext>
            </a:extLst>
          </p:cNvPr>
          <p:cNvSpPr txBox="1"/>
          <p:nvPr/>
        </p:nvSpPr>
        <p:spPr>
          <a:xfrm>
            <a:off x="5257800" y="3581400"/>
            <a:ext cx="6761031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BÍ THƯ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5C90FF0-47A2-4FD4-8E6E-276F0249B04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22045E6-8E90-4DC6-824A-66B15C3E8D69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5FD5C41-9D52-4BCA-8524-485C2B653D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19138192-3659-47B9-81A8-86154F9E461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C5013127-2D01-45D4-810C-99B735E1E67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72E398C-E7D0-4134-B3F6-03EC1559976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THÀNH NGẠI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F02506C-AA77-4580-ADC4-E00621849BB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6ED84E2-FFDA-4174-A718-579ED7961DD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6" name="Picture 55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2BF63E08-8746-411B-BF77-B99B356A73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7" name="Picture 56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EF9AABA-2240-4000-A7BE-42ABA0552B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4" name="Picture 5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EDABEA09-0585-4B60-8068-7F3A66F77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7213D2A-603B-4824-896B-9F13450242F8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87994582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>
            <a:extLst>
              <a:ext uri="{FF2B5EF4-FFF2-40B4-BE49-F238E27FC236}">
                <a16:creationId xmlns:a16="http://schemas.microsoft.com/office/drawing/2014/main" id="{D750B3E2-34B7-468B-B177-9B9D252D34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D1407B45-C340-4124-96A8-546AD98B1FD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BD860DF-6F32-479C-91A2-0E7527B55402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5" name="Picture 54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DDEAC84-0DB3-4EC8-B286-EC9A8429F7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6" name="Picture 5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94EEE52-C6BC-4815-BFDF-29A2F39A7C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3" name="Picture 52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B9723CEE-57E2-40AA-B4E6-6FECF323E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D97274B-6225-46A0-951B-B37D5EDAB2CF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252AFA3-4BA2-4FFB-A9A2-226ABF62B967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99E1A8D0-13F2-4098-AA63-13557C4D9AD2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9D9F66AD-5ED2-4D67-8B28-D7CD938060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1" name="Light">
                <a:extLst>
                  <a:ext uri="{FF2B5EF4-FFF2-40B4-BE49-F238E27FC236}">
                    <a16:creationId xmlns:a16="http://schemas.microsoft.com/office/drawing/2014/main" id="{A6488D63-6483-4272-8A68-4798195FCB1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2" name="Graphic 30">
                <a:extLst>
                  <a:ext uri="{FF2B5EF4-FFF2-40B4-BE49-F238E27FC236}">
                    <a16:creationId xmlns:a16="http://schemas.microsoft.com/office/drawing/2014/main" id="{5873A5DC-D3EF-46C1-A66E-47C6AE769268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09FC2F06-0218-4294-AE51-BE3F894DDF0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THANH THỦY</a:t>
              </a:r>
            </a:p>
          </p:txBody>
        </p:sp>
      </p:grpSp>
      <p:sp>
        <p:nvSpPr>
          <p:cNvPr id="63" name="txtChucVu">
            <a:extLst>
              <a:ext uri="{FF2B5EF4-FFF2-40B4-BE49-F238E27FC236}">
                <a16:creationId xmlns:a16="http://schemas.microsoft.com/office/drawing/2014/main" id="{A4F83B67-32FD-4031-B340-509A6EEB8569}"/>
              </a:ext>
            </a:extLst>
          </p:cNvPr>
          <p:cNvSpPr txBox="1"/>
          <p:nvPr/>
        </p:nvSpPr>
        <p:spPr>
          <a:xfrm>
            <a:off x="4191000" y="3581400"/>
            <a:ext cx="8001000" cy="6206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00" b="1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Ó BÍ THƯ TỈNH ỦY</a:t>
            </a:r>
            <a:endParaRPr kumimoji="0" lang="zh-CN" altLang="en-US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971844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222E3B7A-75BC-4127-BF22-6A3B7E25BD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F17B6028-B1AB-471A-BFC3-AFBB216637EC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NHIỆM ỦY BAN KIỂM TRA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FE74D56-FF85-48AC-BC79-D64A6B0EA8B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03DCE9FA-D60C-47E7-99AC-71D0417F2A52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5708FEA7-0F7A-4C34-AC67-70E8A4FBCD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41CED3F-760F-4DEA-88DD-FC0079F51F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2ABBB8D-0E06-4D97-A4D9-D23682E21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AF8192B-38B3-4122-8C0E-266DC1F34FC4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9F53425-AB7F-4173-98C1-EC354F81E1D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22120DC-C59F-405E-8B78-C6C5A8022CF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40121DD0-3F34-4E43-B7E7-993345C931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B521661A-7447-427C-98E2-569EF667F59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CAF95CD6-593E-45B1-8151-EFF258671CA6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0FA8E1A-F956-4A2F-981A-19AEA4B4CE6C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AN THANH DU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99874214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73E4AB32-7989-4FE8-834D-F1F8B06CC1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A23428E4-9164-4A0A-9DFC-9772EE60C068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RƯỞNG BAN NỘI CHÍNH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7231E47-E50F-4586-8DCA-FB704FF5AFEB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E269B46C-E190-48E6-ACC1-46CA5D7F618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1F279A1-A243-4399-B123-14C71B2ECD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1BAEAC99-40F3-4678-99AC-C6D24F2550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E23CCF85-83EF-49F6-B59D-AAA0F015A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92C8050-E744-4910-B21D-687D8939702B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D920841-A836-49EA-BCA7-E5A0D0E1AAD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15F9F72-AFCB-46E1-9BB3-01DD715580F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255CADAB-D7F0-4778-88F1-23E6199B14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0A38F7D2-20E3-4D2D-8BA2-5DCE2489C3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D387A442-66D9-459F-B217-F71017262BA4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43F16A4-5AC9-4BA5-ADF6-A66084997716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BÌNH TÂ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73747442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4D15C962-8C77-49D7-983F-FAF0359F12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8F2289B9-1C6F-4DE3-93E8-048792145527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RƯỞNG BAN TUYÊN GIÁO VÀ DÂN VẬN</a:t>
            </a:r>
          </a:p>
          <a:p>
            <a:pPr>
              <a:lnSpc>
                <a:spcPct val="150000"/>
              </a:lnSpc>
              <a:defRPr/>
            </a:pPr>
            <a:r>
              <a:rPr lang="zh-CN" altLang="en-US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zh-CN" altLang="en-US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32188BD-C483-4923-B44D-41AEF0C27E2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0A26E3AF-4327-4E83-ACE3-782A6513CA3A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83D9CF06-F831-4C44-95CF-A852E9B006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D481BB9C-2B69-43FF-80C9-BD311C66A1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04C0CCA4-0198-45A8-AE3E-BB6C41ECD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33289BD-CEDE-432E-B9BA-DD7A1768629D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425902B-7249-4068-B6FE-A9FC0729A4A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F6D3C368-8611-47BD-A7D8-C86E79C090E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DFC847D2-1226-4781-9FC8-F1DF549A98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5BDBD927-C760-4B8C-BADB-8FDCDEF64C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1E17BBF4-096C-4204-BAB1-35E16F0C5232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5AA9A3A-C145-4DC9-BA4F-D1FD649F80C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TRUNG VIỆ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019834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E9B8D19E-D357-4A37-8BD2-75ACD85D3B3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17" b="121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7B752AEC-A9D4-402A-AD49-CE2A7C3A6BB2}"/>
              </a:ext>
            </a:extLst>
          </p:cNvPr>
          <p:cNvSpPr txBox="1"/>
          <p:nvPr/>
        </p:nvSpPr>
        <p:spPr>
          <a:xfrm>
            <a:off x="5257800" y="3581400"/>
            <a:ext cx="6784312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ƯỜNG TÂN THÀ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BAC8735-47D7-4FF6-B281-D02AB724ABD7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836206-6F84-4728-8241-27C77EC6A22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51F73EF7-8AD9-4F52-BA77-59B5CF371B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EA571BA-36A6-4764-8336-C52A539280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B77E8EF-C60E-455B-8B56-51B921440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FE82C06-C720-4591-A5CD-F46E03052790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B20EE47-35CF-4894-84A9-F1EBEDEC3B87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26FF562-4B7D-482D-9F69-D7A3712D685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DD15E26F-7F41-476E-981B-2F01E5D5EF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190F47B0-080B-442F-A7FD-2912963560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6B2110C4-0A49-477F-866A-EAC0495AC03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50A9F896-9597-49B6-8D8D-73DC7B0E3C7B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ƯƠNG ĐĂNG KHO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917838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39F61D39-2B85-40A3-9C91-B7078C435C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8DB7C6BC-D60A-45C3-A5B7-812767389D10}"/>
              </a:ext>
            </a:extLst>
          </p:cNvPr>
          <p:cNvSpPr txBox="1"/>
          <p:nvPr/>
        </p:nvSpPr>
        <p:spPr>
          <a:xfrm>
            <a:off x="5257800" y="3581400"/>
            <a:ext cx="6859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067AA6B-6693-47C7-A16C-2932DD25337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DD84AAFB-8572-43B7-9188-7413992B96AF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4FC4CAEA-DE07-4547-A995-421640FA31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19469C7E-D146-4736-85B4-A29B1C9A42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59CB6C9C-ED17-4589-8EF3-9CC3F2D0D9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6BA58FC-315E-441E-A1DD-4696150536AD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D7B1FAD-EEB8-4E54-A077-E3E9E3C0E42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6A0DF76A-70A4-4669-98C5-94EDAFE78D33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D24F6437-9769-4120-A393-D8A0A91448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D7A385A2-0117-4FC7-B89F-2C46CA06CAC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875131D2-56E3-4F70-A564-93179CF25D0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5C5D8602-D1F9-4197-972B-1B8E2BB4E51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Ị NHU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01349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17" b="121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84312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ƯỜNG TÂN THÀ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5804F9-A63E-4EAF-87FE-10BB7F43C4C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A5DABB2-F943-435A-AD43-A4DFD2A2B6F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065066E-1DB4-4991-A8DC-07017FC122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A41550BD-E23A-441E-833B-D35EF4676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CFDAA2A-41B5-447B-AB18-94076FD6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DF3BEEF-81D6-4DD2-8973-C921D928FB92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D535BCC-81B5-4A89-9878-8BD315B6BE1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EF35479-0BDC-4740-9551-E6D31DAAFD7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874271A-158A-455B-B14A-6F815E9197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5CBDA40-A40A-4500-B03F-66D3EF97BD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3FEBE833-1821-4269-B8F2-4FF507868CC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87AD1C4-BB99-4F93-8A06-17E7C2565AF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ƯƠNG ĐĂNG KHO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0417680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F02B4889-2E89-4A11-A6A9-00FC6B24BD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2B4EAE11-710A-40A6-90D8-4272818002AD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9549F83-D69B-4A74-8CFD-157BB1EE265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D502952-46AA-43D5-B607-50E5875F188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BD8CCD8-293F-4205-88B5-3914ADF6D7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5F703A2-28D0-4DD3-A2D5-79D8C75456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33A4CF9-8F7E-4F8B-AD88-2B5A068D2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7B1C348-4C67-4EBC-AE1F-58D6A79717BD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4D234B-7AE7-456A-837E-9FAF5544FE0D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4091CFD-EA7B-4570-81E7-60D8E18D4355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F1CB20B2-BD07-4736-AB76-5C8ED1F3EC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A5C6661A-7F9E-4954-A6A4-5FC0B315430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88BF73C9-20E2-4811-89E8-6B56412BB298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CD9B95A-A6AA-48F0-905F-68BF830BD75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ÂM VĂN B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72756834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F13F0CAB-B66D-4370-A993-8D02812548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EED7F6B0-7884-42FB-A7A8-BEF5BDEF61AC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629A497-EE3C-4B3D-84E8-51BC9D64075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34860D3-F976-40B4-82FC-3EF4C4F06F0A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35B2FD9D-FE20-445C-9D7E-A9BD115B36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18CD858D-FFE4-413B-A86D-DF1019759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DEE4B63-F43A-4036-98A2-F5FB44E44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0ED39EF-3C19-410B-8C25-522F080FD306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2212FD9-E931-4714-B7E5-2EE5872D1D9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7FA1D87-3C9B-474E-9269-0BD9C3A05613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66B49977-9198-4207-9AD1-C442F760C2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0E8912D2-B45F-46F1-A7AA-6A7ACE16A3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C533400A-F715-4C12-BB28-746F55427A4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88F55AC-28F2-441C-8B66-F1A49823FEC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HỮU TRÍ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15204598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737B8412-47A0-4101-AE5B-572FDE55CE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21259214-FE08-4FAC-9A61-2E39B75C1026}"/>
              </a:ext>
            </a:extLst>
          </p:cNvPr>
          <p:cNvSpPr txBox="1"/>
          <p:nvPr/>
        </p:nvSpPr>
        <p:spPr>
          <a:xfrm>
            <a:off x="5257800" y="3581400"/>
            <a:ext cx="6784312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Ỉ HUY TRƯỞNG BCH QUÂN SỰ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A5F4AD-CCC1-4B35-AB27-C5520AAC66E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FCD077B-1C53-4771-8BAE-DB670FFCD84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ED9F52C-04D9-4B72-9A49-C45EDD6D3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DE95207F-EC84-4E1B-A0D5-773CDA15A8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2205EC9-F9D6-4AFC-963A-ED6C5E1B4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67A500B-F6EE-4383-A1B0-556C41AA168E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F62057E-A689-44F6-ABDB-C4A375A3B7C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34D7FC5-0C37-4A31-840A-56B67D45A883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452CC02D-72F0-4060-ADBF-547428A3D3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74F5524E-D6A7-4AAD-AE79-8D8047F6760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E0B34048-D773-4277-82BA-24D39BDFE02A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08D68B0-4155-4034-98F0-C29319FB9F51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VĂN HÙ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4612098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>
            <a:extLst>
              <a:ext uri="{FF2B5EF4-FFF2-40B4-BE49-F238E27FC236}">
                <a16:creationId xmlns:a16="http://schemas.microsoft.com/office/drawing/2014/main" id="{5E41B240-1842-4789-8328-C840964572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6" r="2926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68" name="txtChucVu">
            <a:extLst>
              <a:ext uri="{FF2B5EF4-FFF2-40B4-BE49-F238E27FC236}">
                <a16:creationId xmlns:a16="http://schemas.microsoft.com/office/drawing/2014/main" id="{FC27683C-6E6C-4269-A8AE-FED36B4F1998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CÔNG A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4004513-DFA8-423C-964C-7AABD34BE5F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234ADE4D-68B7-4E69-82FF-417F8042C05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73" name="Picture 72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36FD249-3AC3-4643-8F32-63A2112255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74" name="Picture 73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5121B99B-321E-47E4-8720-77130EBBA4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71" name="Picture 70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4787A80D-3BA9-496A-A2EF-30C155ECE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7179F31-2AEB-44C7-830E-F049DEA52252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9E2337E-89C7-49D4-81E4-2E76B8B419B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647B4B01-CF7A-4F88-9015-BD6DD2C85DE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9921FB3-0B98-4676-9AFE-FC92BD88D2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79" name="Light">
                <a:extLst>
                  <a:ext uri="{FF2B5EF4-FFF2-40B4-BE49-F238E27FC236}">
                    <a16:creationId xmlns:a16="http://schemas.microsoft.com/office/drawing/2014/main" id="{E031BCCC-CADB-4F4F-A6C7-74894DCDA7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80" name="Graphic 30">
                <a:extLst>
                  <a:ext uri="{FF2B5EF4-FFF2-40B4-BE49-F238E27FC236}">
                    <a16:creationId xmlns:a16="http://schemas.microsoft.com/office/drawing/2014/main" id="{93C85852-89E2-4287-A691-B656CDE83672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ABB10472-C12C-4BBF-8A02-1615C1A0D337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VIỆT TRIỀ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72268436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82">
            <a:extLst>
              <a:ext uri="{FF2B5EF4-FFF2-40B4-BE49-F238E27FC236}">
                <a16:creationId xmlns:a16="http://schemas.microsoft.com/office/drawing/2014/main" id="{FD6B2E2B-2CC2-4F83-B809-543C56F36F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84" name="txtChucVu">
            <a:extLst>
              <a:ext uri="{FF2B5EF4-FFF2-40B4-BE49-F238E27FC236}">
                <a16:creationId xmlns:a16="http://schemas.microsoft.com/office/drawing/2014/main" id="{429FE244-ADFF-4922-8647-0F009E07EB72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</a:t>
            </a: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HỦ TỊCH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HƯỜNG TRỰC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BAN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MẶT TRẬN TỔ QUỐC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682B2B1-95CE-4394-870A-43096A87F6A9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735949D3-4C92-40FE-B14B-726CEDAFC68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15BC6D81-AE00-44A1-A5D9-1F5B271038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5" name="Light">
                <a:extLst>
                  <a:ext uri="{FF2B5EF4-FFF2-40B4-BE49-F238E27FC236}">
                    <a16:creationId xmlns:a16="http://schemas.microsoft.com/office/drawing/2014/main" id="{815898CB-8ACA-4BF4-8B8F-D1D401838F4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96" name="Graphic 30">
                <a:extLst>
                  <a:ext uri="{FF2B5EF4-FFF2-40B4-BE49-F238E27FC236}">
                    <a16:creationId xmlns:a16="http://schemas.microsoft.com/office/drawing/2014/main" id="{D0362046-517B-4CE9-AC63-A0AADB21DFC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A6D36A34-6CFA-4734-AB87-5EC278179DB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ANH TRIỀU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6A19609-93DC-4ED2-9DC3-89040675A95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F5E21328-901B-47EF-8AAC-DBA6E4EA06E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102" name="Picture 101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20227C8E-4E26-4D6E-A671-C2898E5D35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103" name="Picture 102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0404765-34AF-45EB-B578-B193ECA5C8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100" name="Picture 99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EAB6698D-241E-450C-B3B6-6A5A5FAB3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B8627FC-EC10-4EE7-905E-47D08E2B7AD1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5465322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E2CA41B6-23B3-461A-B946-D8FAF958BA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9258EC90-CB6C-4CC1-ADE7-22D860782C6E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NỘI VỤ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68A8442-10E3-4891-B551-DD8AE94E77A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5D22DF-D8AB-47D5-AA65-BF250FA668F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7F85E9D-156A-458A-9257-CB2F4CC256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91BE4B7-12AB-491B-A139-86A49FBE75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2EEE249-81F2-4432-9005-ABCE37E24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5FFF3D-2F5D-4360-9B43-327686BBAE84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B232FFE-609F-4471-B427-9FA633F1BD3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98B6282-7DEE-44CE-8C6E-B965CB06364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B91F51A-3FBB-4D34-AFA1-36E40E9A32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686B70BD-9036-4048-A9BF-CC6E237FDA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D3DB5848-7EFC-4066-8B59-D2681F546C54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98A46C8-37EE-4666-B72C-5778F86016C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ẦN HỮU PHƯỚC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05344488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038694C8-53EE-4506-A435-F7D12BDBF4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2265F562-D728-4CD8-AA4A-B85ACA315C58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 PHƯỜNG BẠC LIÊU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1E683D6-3462-41D6-A416-2AAC8691620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77861EF-F5E3-45E8-B780-AA540D4342EB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AF08E3C-C3A3-4008-85C7-54910E0A40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2092F36D-4C47-4240-8D1F-AACA14903F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3CC4867-3392-4E2E-B201-69EBCA5F4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E89EAC3-D2A3-4EEE-9089-598918C1B794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3538129-3A86-4F22-8681-F2E19D9E44A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EC7CAC1E-269F-464C-B15C-E827CDACD54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DAB029A-AD00-4CC0-B1D2-F8A56AA2A8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72B1AF43-147F-4526-A41E-12E69E7E449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F3273464-2A8B-465D-8233-20B65149612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E33E9E3-2E9A-4402-A67F-41AB47A8BF5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Ô VIỆT TH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52915394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0BD3BE3-88A1-4B4A-8B05-D2065E2999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DB29B4EA-AFCB-4A7D-B088-34B609ABFD83}"/>
              </a:ext>
            </a:extLst>
          </p:cNvPr>
          <p:cNvSpPr txBox="1"/>
          <p:nvPr/>
        </p:nvSpPr>
        <p:spPr>
          <a:xfrm>
            <a:off x="5257800" y="3581400"/>
            <a:ext cx="7240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ÁNH VĂN PHÒNG TỈNH Ủ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EA6A6F0-6286-4523-A7E0-05892F5BF9C7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8E7B927-8B78-4247-AA5F-4B4D72852D3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576EDD2F-A159-4E5D-9DF2-A49D86DC14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3575713-A6A9-484A-85D0-1ACE58190A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9AC0B8C-6C3F-4610-BD2B-C1A9A5137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3BD0932-DAAC-493D-A95B-E81DC925F399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FFC06FC-5358-491F-9362-65DFBE7A9D4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40F9567-B2E3-4532-8EF1-9DA8082C9852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5DC2FFC-A32E-4AB2-9392-A911736DF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C5DA59D8-CF9C-408B-9CB8-992BCB256FB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A8EB502A-99CD-4A68-9647-881C6D4CC294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074E8CF-CA29-41E8-ADA3-9DCA6D4EED3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UẤN HẢ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75954942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68212734-1728-4A48-A1B9-3E6B08D06AF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0" b="2090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52" name="txtChucVu">
            <a:extLst>
              <a:ext uri="{FF2B5EF4-FFF2-40B4-BE49-F238E27FC236}">
                <a16:creationId xmlns:a16="http://schemas.microsoft.com/office/drawing/2014/main" id="{DE859B9C-1C0D-4098-9C69-F13566DFAC44}"/>
              </a:ext>
            </a:extLst>
          </p:cNvPr>
          <p:cNvSpPr txBox="1"/>
          <p:nvPr/>
        </p:nvSpPr>
        <p:spPr>
          <a:xfrm>
            <a:off x="5257800" y="3581400"/>
            <a:ext cx="724069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MTTQ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HỘI LIÊN HIỆP PHỤ NỮ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3714A60-11E0-460F-BD78-14D93D907560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06698402-D7A3-4C97-AD9E-BBD424F05C5F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57" name="Picture 5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9419F01-EBBA-4582-B832-1B0F616A50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58" name="Picture 5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081AB08B-AD58-4755-8CF1-377C5976DE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55" name="Picture 5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F5FA462-0B63-4B43-886E-1F86282DA1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096D289-99EB-4291-8DAC-3C7CD107B7ED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6647792-E5E8-4A04-8B8A-A72122357D0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03B3AE2-77B1-47BE-AC2C-73328CBF086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7AE1D9CE-FFB7-4CB8-8EB5-6EABD791D7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3" name="Light">
                <a:extLst>
                  <a:ext uri="{FF2B5EF4-FFF2-40B4-BE49-F238E27FC236}">
                    <a16:creationId xmlns:a16="http://schemas.microsoft.com/office/drawing/2014/main" id="{292192E0-6811-4BD9-B9C1-C14031A209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4" name="Graphic 30">
                <a:extLst>
                  <a:ext uri="{FF2B5EF4-FFF2-40B4-BE49-F238E27FC236}">
                    <a16:creationId xmlns:a16="http://schemas.microsoft.com/office/drawing/2014/main" id="{F2BB8337-8E58-462F-83A4-FF717CB5837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162E4B4-53BE-49FF-9533-CFBF665E2C9C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Ị NGỌC LI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12798496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4D93FD20-9AA8-4C3F-979F-455D38CEDD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1701EEAB-4F6B-4F21-8FBE-4A430771A2C4}"/>
              </a:ext>
            </a:extLst>
          </p:cNvPr>
          <p:cNvSpPr txBox="1"/>
          <p:nvPr/>
        </p:nvSpPr>
        <p:spPr>
          <a:xfrm>
            <a:off x="5257800" y="3581400"/>
            <a:ext cx="724069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MTTQ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LIÊN ĐOÀN LAO ĐỘNG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096BE9B-6B6A-46A4-AB95-54EF9A26C24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0E14301-330C-47FE-ABF4-9BE14A7FD7D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2D08C0AD-63DE-4A5C-A062-44864FCD95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07EE1B81-85FC-4269-B1A2-ECEC3A2834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B6DF1033-2203-4CFE-B0D3-CA95BFC41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E8FE7A5-CC2D-443C-A38D-7AF8649F4EF3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696BF3-F259-4832-BC09-29F3930E5D5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DE806EB-5185-44C4-938F-618EB0CC811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8BBF17D-C1FC-45B0-8559-15DB736582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D62F601A-C68B-4CBA-A57C-364DB6C783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0EBCCBC5-7062-431B-9D98-0F4DC12BD72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F98DA76-1D0E-4D3C-8B19-D0F77B95BBA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ÚT MƯỜ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825680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84312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E35DA8A-F98A-4F82-9781-AD79F2487AF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FE23A79-3F74-4AF1-8212-6EDEAF2AC8D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669EAF1-976B-4505-8628-A854E89173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E25C9B8-B158-4FC1-8EF3-080EBB4AB0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E5CAB91-8CCA-4DDF-85F3-17C38793F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AEFE608-31FD-4E06-BDD4-6488A9E466C8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10B8517-BE57-40B8-B72B-43C5C415E94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7A499F9-339F-471F-A5EA-011F21E657D1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8C442A1-37AE-4782-83B3-1C26AD2702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12F09F4-A489-4D21-9414-F151C27AC6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FC0DC7C0-F9C9-46C3-AC79-8BAB076A95D4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02B9B24-6253-4973-B4BF-2D208ABB6F8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MINH LUÂ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86207344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268136A-C9FF-4A21-A609-D25539D4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" b="305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5E1415C4-106E-46A6-A8A0-4F9A3128F724}"/>
              </a:ext>
            </a:extLst>
          </p:cNvPr>
          <p:cNvSpPr txBox="1"/>
          <p:nvPr/>
        </p:nvSpPr>
        <p:spPr>
          <a:xfrm>
            <a:off x="5257800" y="3581400"/>
            <a:ext cx="724069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MTTQ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HỘI NÔNG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AE18F44-5F5B-438B-9348-FDFFE61FC9C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4E0FD00-71BC-400D-9D54-3B7F39FC457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AA3805E-0F38-41D3-B032-1E64C23C5E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9DC4E8CD-392B-42F6-9352-5AAC31AD1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B17ACE67-A06A-414B-AB5B-ECF7C66AF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42CC003-8FE2-4C8C-92E4-F2F57E445EB9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ECED36-06A5-466A-8812-22A29E448A46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0C2F7DD-417F-4F04-948C-15ED09E5182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BC83F6F-FF63-4CB2-8657-A1A7D92F35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79267E7B-274B-446B-B4BA-B6097D4C193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42D8A231-DC26-4554-9C0D-36A700517419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F3D296-524E-421F-A6D3-0E4D90E36836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OÀNG THOẠ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78669637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AD4A7AD6-7577-4CC6-BE0A-D64CCED921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" b="1219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3EBF0706-2EE1-400E-8FD8-9C438953EEEC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 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ÁNH ÁN TÒA Á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A2E2F45-CB46-46F0-A434-67F485E3313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F0CC0CEB-00AA-4256-ABDD-1895DF66EBD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1F7CB83-2348-4F4B-9255-A729E64B46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95EB9FEF-8D41-4FC7-95AE-3E7A3DD088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95547B4-A2DA-4692-9DF8-447845AFD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0228821-879D-4D7D-AE30-123FB1A2BACB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6D4995B-10DB-4816-AD01-21D6571D8732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88B265B-EB0B-457C-A844-B3808A06C06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B1D86C1-6C01-49DF-BB40-E59C641956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8395A9B1-CCAD-439B-87C8-47BDB60A00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F53DFB83-C479-447C-A5ED-2CE39508401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DB6CB66-0B49-4A1B-9C25-D755F0AFC081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HÁI RẾ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41255998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DE7DAE4-E880-41C8-ACD0-0AAC1266B0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68" r="16368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DEE29A83-0DBD-42E6-BB58-F9079099EBDC}"/>
              </a:ext>
            </a:extLst>
          </p:cNvPr>
          <p:cNvSpPr txBox="1"/>
          <p:nvPr/>
        </p:nvSpPr>
        <p:spPr>
          <a:xfrm>
            <a:off x="5257800" y="3581400"/>
            <a:ext cx="7240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KHOA HỌC VÀ CÔNG NGHỆ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316ACE-5DC7-4B7D-B749-E7E6FF44402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14902A7-B4F2-452A-ADBC-0424B378982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CC5D8149-B8E2-4888-9139-54D34D9190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4B4EA636-BFA5-4A9E-8C8D-C0E4DDEBCD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6E5C4F2-FD9C-41AA-8076-DCB94A95FD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5FD738A-96C8-4A45-8871-CD7D0C41FB87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1240CA2-541E-4BCE-BC9C-60373FB0F045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1A2BCD0-62FB-4CC7-A19D-383345F42E0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A490AF03-C82F-4908-8E36-FE24C85F91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BC968EE9-5680-4905-99F8-A06B4F20B7B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3A5B74BC-1472-4C65-884A-17BD263A90A6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82D190A-4614-429E-A89A-859A55856F2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PHƯƠNG BẮC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1339578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9A4C34C-9F91-46F3-BCAE-0FB2E372FE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E038FFBA-3135-4254-9063-2D91A7DE059B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 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XÂY DỰNG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26C045C-0D5C-42CF-AFC7-D4D16FBE7D1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D19A6E5-43CC-400E-82FF-A985FEC65C41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94B650B-20A9-45C1-8D2A-D09BC0D78F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58A7D3AF-DA6B-4219-B857-605D796A4B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7F42B8B-94DC-4135-A1E0-2B6B5A357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6A0FB78-5EA8-4635-97D3-8C89379FB7DE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344911F-FEBF-442E-BFA5-1A090E16FD0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8C28978-32AF-4B28-A3AD-217238CF513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14A51CC-765F-4785-99C8-A53F369999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3371978F-8349-42EA-9194-62166B4CEEB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B7E30A4F-5010-4709-8094-B1BC2D0C9463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25C04F5-D4B5-4245-A1C4-AAAB6103C8B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DƯ MINH HÙ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10842426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2A58990-4899-4E58-85DF-DACE05CCAD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A56C0A77-D8CF-40A1-8835-29827B868F14}"/>
              </a:ext>
            </a:extLst>
          </p:cNvPr>
          <p:cNvSpPr txBox="1"/>
          <p:nvPr/>
        </p:nvSpPr>
        <p:spPr>
          <a:xfrm>
            <a:off x="5181600" y="3581400"/>
            <a:ext cx="7240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</a:t>
            </a:r>
            <a:r>
              <a:rPr lang="en-US" altLang="zh-CN" sz="2400" b="1" spc="-10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IÁM ĐỐC SỞ NÔNG NGHIỆP VÀ MÔI TRƯỜNG</a:t>
            </a:r>
            <a:endParaRPr lang="zh-CN" altLang="en-US" sz="2400" b="1" spc="-100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36E7935-7FEB-4798-9F52-3D1B8CE4D7F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FE439BB9-421C-4068-9817-938E0FED1C92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A97A8D4-E664-42B3-A8D5-86B2687ABA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74DB168F-66F0-48AE-A979-CFDFB92A13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4B2AEDE0-7A41-4163-88A9-FC9F92C561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87B9976-6C8C-464D-B527-6A24A8DFE135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6165EC4-04A0-485B-8B95-915F5D334C12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EF42944-26A1-49D0-99CC-C36D83789FF7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9F54C44-F821-406C-9703-AD64D45F3D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DECA8A08-241E-466B-AC88-8089E05E333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832BB282-1045-4C20-A375-42AAA073D279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23218D2-C652-477E-A188-DFAE9BEABA9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Ô HOÀI PHƯƠ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97174166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E8F184E-6CB6-436A-9ABC-BE0911B781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AE2E50D3-450B-491C-A855-1AF185291510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 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</a:t>
            </a:r>
            <a:r>
              <a:rPr lang="en-US" altLang="zh-CN" sz="2400" b="1" spc="-15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IÁM ĐỐC SỞ VĂN HÓA, THỂ THAO VÀ DU LỊCH</a:t>
            </a:r>
            <a:endParaRPr lang="zh-CN" altLang="en-US" sz="2400" b="1" spc="-150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A4CD0C5-D678-4C46-92B6-0195407BB597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4C17966-D39A-4046-AB48-9F3B6E0B122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3C857A55-DD62-470C-894D-D4C4A33B38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448617AF-3B96-449D-B585-FFD3C5BDB5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BA1808E0-50D5-4A81-B634-8CFA37A5D9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9B774C2-E9AD-4190-AE56-50F8484F3653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C558EEE-FDA1-4C43-BC58-5C69BF2905FA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0A53DB40-B1A1-495E-9735-CA32FC48D2C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AAC1A62D-5F41-4639-B9BE-4BF3F2F46D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B1EC1B98-F82F-447B-A868-080B49F0CB4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5B08CE85-2D05-489B-A5AE-3519B342F143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04658F8-E645-4DC6-8CAF-010BF090D45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QUỐC THA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24362848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3A1AFB23-BC7D-4B0D-B01F-956145FC43A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" b="37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7B8720BB-4E83-4016-8D8F-973D12923E6B}"/>
              </a:ext>
            </a:extLst>
          </p:cNvPr>
          <p:cNvSpPr txBox="1"/>
          <p:nvPr/>
        </p:nvSpPr>
        <p:spPr>
          <a:xfrm>
            <a:off x="5237922" y="3598315"/>
            <a:ext cx="7240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CÔNG THƯƠNG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0B6E17C-DCF9-4005-BF83-DF229B413FE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E784B88-D5F6-42D0-8883-2B4BDB37D12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38A19DD9-EF5C-4F74-A9C2-B44B8CE88E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E8AA6F0-414F-4C5D-9392-BC36955A67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7A579C51-D1FB-4CA9-B2A2-19D70886A6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0E094C5-94D3-45B8-98DE-921E5E910027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BECD257-287D-432D-972D-1D4E97AA7C26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6CDB92DA-1BC9-494B-9307-FAB804E8AA5D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A35513D-F2E6-4F99-9040-3813F617F4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9BE2806D-B88E-45D0-A87E-2CFC77607B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ED4A7EC1-724B-4EB7-BE00-BEC472B9113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22FDB1E-40C4-4AF5-ADCA-841B3916E6E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CHÍ THIỆ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9663769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8746B11-B342-42D7-A64F-A6E76B0ED4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AC0613E8-A948-42B2-B76D-DA3E120AF4FE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 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Ỉ HUY TRƯỞNG BCH QUÂN SỰ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BCF472B-FEA6-4794-9804-D96A18C03CC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C125A8B-BD83-48ED-8A8D-55D4A9A2500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CA10ECF-FC4F-49EA-8CD9-48C32D7009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6D06BC1-A9FB-437B-BF6F-0AEED14998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9A2450-C0F9-4E06-8C0F-A6E22CAFC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8630AF7-3AC6-4E0F-AEB6-9E6079981910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F6227F3-1572-4427-8F12-EA098655149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E6DF648-0177-4E0E-9E51-3C170AF897B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7B8EC73-3EE5-44E0-B5F9-1376DA6316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F0406414-4E18-42B1-93CF-728CA6E9FD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387B0933-BB83-4545-AC69-1A18EA1BE50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C4E6436-A397-436A-86B1-566BF51BA38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À VĂN THA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93683965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xtChucVu">
            <a:extLst>
              <a:ext uri="{FF2B5EF4-FFF2-40B4-BE49-F238E27FC236}">
                <a16:creationId xmlns:a16="http://schemas.microsoft.com/office/drawing/2014/main" id="{AC0613E8-A948-42B2-B76D-DA3E120AF4FE}"/>
              </a:ext>
            </a:extLst>
          </p:cNvPr>
          <p:cNvSpPr txBox="1"/>
          <p:nvPr/>
        </p:nvSpPr>
        <p:spPr>
          <a:xfrm>
            <a:off x="5257800" y="3581400"/>
            <a:ext cx="7240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MTTQ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TỈNH ĐOÀN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BCF472B-FEA6-4794-9804-D96A18C03CC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C125A8B-BD83-48ED-8A8D-55D4A9A2500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CA10ECF-FC4F-49EA-8CD9-48C32D7009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6D06BC1-A9FB-437B-BF6F-0AEED14998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9A2450-C0F9-4E06-8C0F-A6E22CAFC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8630AF7-3AC6-4E0F-AEB6-9E6079981910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F6227F3-1572-4427-8F12-EA098655149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E6DF648-0177-4E0E-9E51-3C170AF897B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7B8EC73-3EE5-44E0-B5F9-1376DA6316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F0406414-4E18-42B1-93CF-728CA6E9FD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387B0933-BB83-4545-AC69-1A18EA1BE50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C4E6436-A397-436A-86B1-566BF51BA38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TUẤN TÀI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BCED574B-BCC7-47FE-A90D-0A00B050A9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323089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xtChucVu">
            <a:extLst>
              <a:ext uri="{FF2B5EF4-FFF2-40B4-BE49-F238E27FC236}">
                <a16:creationId xmlns:a16="http://schemas.microsoft.com/office/drawing/2014/main" id="{AC0613E8-A948-42B2-B76D-DA3E120AF4FE}"/>
              </a:ext>
            </a:extLst>
          </p:cNvPr>
          <p:cNvSpPr txBox="1"/>
          <p:nvPr/>
        </p:nvSpPr>
        <p:spPr>
          <a:xfrm>
            <a:off x="4191000" y="3581400"/>
            <a:ext cx="7996067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IÁM ĐỐC SỞ GIÁO DỤC VÀ ĐÀO TẠO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BCF472B-FEA6-4794-9804-D96A18C03CC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C125A8B-BD83-48ED-8A8D-55D4A9A2500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CA10ECF-FC4F-49EA-8CD9-48C32D7009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6D06BC1-A9FB-437B-BF6F-0AEED14998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9A2450-C0F9-4E06-8C0F-A6E22CAFC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8630AF7-3AC6-4E0F-AEB6-9E6079981910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F6227F3-1572-4427-8F12-EA098655149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E6DF648-0177-4E0E-9E51-3C170AF897B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7B8EC73-3EE5-44E0-B5F9-1376DA6316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F0406414-4E18-42B1-93CF-728CA6E9FD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387B0933-BB83-4545-AC69-1A18EA1BE50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C4E6436-A397-436A-86B1-566BF51BA38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VĂN NGUYÊN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4D8772CD-276C-42BB-AD1D-235D3B24E9A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399389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BF554EC-6C58-4A12-A843-797E2EA8B65B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08460F2-FB30-4C6D-815F-A3D7DE7D526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CEA64DD5-E701-42FE-ABDD-D4BE0488B6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B52986B-C969-470A-ADD1-937D2EDE58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DC0645C-D716-48FF-8E8D-C44229B49B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E7E41F0-9934-439F-81B8-5D383EB21D8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37F927D-E370-4E04-BF02-551C15EA331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A5530D3-DC8F-4D81-AA81-0E127FBF3E07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58DDEAF-1C11-4DC7-A8D0-CADCFB002D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D39D34E0-EA5B-4B3D-A000-EE32FAD27D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C4BAFC9D-DE0E-4F40-9CA2-6C45F666374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78435A1-0D2F-4D50-9294-CDC3B1C6038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Ị NHU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70560957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xtChucVu">
            <a:extLst>
              <a:ext uri="{FF2B5EF4-FFF2-40B4-BE49-F238E27FC236}">
                <a16:creationId xmlns:a16="http://schemas.microsoft.com/office/drawing/2014/main" id="{AC0613E8-A948-42B2-B76D-DA3E120AF4FE}"/>
              </a:ext>
            </a:extLst>
          </p:cNvPr>
          <p:cNvSpPr txBox="1"/>
          <p:nvPr/>
        </p:nvSpPr>
        <p:spPr>
          <a:xfrm>
            <a:off x="4191000" y="3581400"/>
            <a:ext cx="7996067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           CHỦ TỊCH HỘI ĐỒNG TRƯỜNG ĐH BẠC LIÊU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BCF472B-FEA6-4794-9804-D96A18C03CC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C125A8B-BD83-48ED-8A8D-55D4A9A2500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CA10ECF-FC4F-49EA-8CD9-48C32D7009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6D06BC1-A9FB-437B-BF6F-0AEED14998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9A2450-C0F9-4E06-8C0F-A6E22CAFC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8630AF7-3AC6-4E0F-AEB6-9E6079981910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F6227F3-1572-4427-8F12-EA098655149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E6DF648-0177-4E0E-9E51-3C170AF897B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7B8EC73-3EE5-44E0-B5F9-1376DA6316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F0406414-4E18-42B1-93CF-728CA6E9FD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387B0933-BB83-4545-AC69-1A18EA1BE50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C4E6436-A397-436A-86B1-566BF51BA38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Ô ĐỨC LƯU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804ED6CD-BC74-412F-A6BF-7124258CE5D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2" r="361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292908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xtChucVu">
            <a:extLst>
              <a:ext uri="{FF2B5EF4-FFF2-40B4-BE49-F238E27FC236}">
                <a16:creationId xmlns:a16="http://schemas.microsoft.com/office/drawing/2014/main" id="{AC0613E8-A948-42B2-B76D-DA3E120AF4FE}"/>
              </a:ext>
            </a:extLst>
          </p:cNvPr>
          <p:cNvSpPr txBox="1"/>
          <p:nvPr/>
        </p:nvSpPr>
        <p:spPr>
          <a:xfrm>
            <a:off x="4191000" y="3581400"/>
            <a:ext cx="7996067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HIỆU TRƯỞNG TRƯỜNG CHÍNH TRỊ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BCF472B-FEA6-4794-9804-D96A18C03CC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C125A8B-BD83-48ED-8A8D-55D4A9A2500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CA10ECF-FC4F-49EA-8CD9-48C32D7009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6D06BC1-A9FB-437B-BF6F-0AEED14998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9A2450-C0F9-4E06-8C0F-A6E22CAFC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8630AF7-3AC6-4E0F-AEB6-9E6079981910}"/>
                </a:ext>
              </a:extLst>
            </p:cNvPr>
            <p:cNvSpPr txBox="1"/>
            <p:nvPr/>
          </p:nvSpPr>
          <p:spPr>
            <a:xfrm>
              <a:off x="3916557" y="494318"/>
              <a:ext cx="4358886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CHÍNH THỨC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F6227F3-1572-4427-8F12-EA098655149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E6DF648-0177-4E0E-9E51-3C170AF897B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7B8EC73-3EE5-44E0-B5F9-1376DA6316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F0406414-4E18-42B1-93CF-728CA6E9FD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387B0933-BB83-4545-AC69-1A18EA1BE50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C4E6436-A397-436A-86B1-566BF51BA38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DƯƠNG VĂN THẠNH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66A8F8C9-8DAF-49B8-9A4C-E9B4FFA623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4686761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30949E85-8E80-40B2-9ADA-433DCDEB6B9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8" r="5168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46FCB872-BAAE-4D70-96B4-B4D0FF1ABDD3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ƯỜNG AN XUYÊN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79350BB-EE64-473E-80BF-5B4A20CAC73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89E71B6-A7A5-431E-946E-68439D75FF7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F377B54-8736-446D-9CD7-37D262CF25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7E6C3184-9BA6-48D8-8C1A-6BE1C2C1F2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509BAC7-7510-49DD-AB13-37FE6953AB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E806C30-91A8-495B-A01E-2A43CAF77F99}"/>
                </a:ext>
              </a:extLst>
            </p:cNvPr>
            <p:cNvSpPr txBox="1"/>
            <p:nvPr/>
          </p:nvSpPr>
          <p:spPr>
            <a:xfrm>
              <a:off x="4031975" y="494318"/>
              <a:ext cx="4128054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DỰ KHUYẾT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5D0330-6BB3-4A19-973C-391443108A3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F8838E9-37FB-46E7-8686-822A40FC357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9114B22-D875-4D7D-A1AE-999937721B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E954A394-736B-4D02-B97E-0FF9759621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E52C07C0-0E28-4161-836E-B7573FD8798A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708344-4C82-494F-9D1E-727D5002B8B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VĂN CHU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19705275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xtChucVu">
            <a:extLst>
              <a:ext uri="{FF2B5EF4-FFF2-40B4-BE49-F238E27FC236}">
                <a16:creationId xmlns:a16="http://schemas.microsoft.com/office/drawing/2014/main" id="{46FCB872-BAAE-4D70-96B4-B4D0FF1ABDD3}"/>
              </a:ext>
            </a:extLst>
          </p:cNvPr>
          <p:cNvSpPr txBox="1"/>
          <p:nvPr/>
        </p:nvSpPr>
        <p:spPr>
          <a:xfrm>
            <a:off x="4280111" y="3581400"/>
            <a:ext cx="7906956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IÁM ĐỐC SỞ Y TẾ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79350BB-EE64-473E-80BF-5B4A20CAC73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89E71B6-A7A5-431E-946E-68439D75FF7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F377B54-8736-446D-9CD7-37D262CF25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7E6C3184-9BA6-48D8-8C1A-6BE1C2C1F2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509BAC7-7510-49DD-AB13-37FE6953AB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E806C30-91A8-495B-A01E-2A43CAF77F99}"/>
                </a:ext>
              </a:extLst>
            </p:cNvPr>
            <p:cNvSpPr txBox="1"/>
            <p:nvPr/>
          </p:nvSpPr>
          <p:spPr>
            <a:xfrm>
              <a:off x="4031975" y="494318"/>
              <a:ext cx="4128054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DỰ KHUYẾT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5D0330-6BB3-4A19-973C-391443108A3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F8838E9-37FB-46E7-8686-822A40FC357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9114B22-D875-4D7D-A1AE-999937721B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E954A394-736B-4D02-B97E-0FF9759621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E52C07C0-0E28-4161-836E-B7573FD8798A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708344-4C82-494F-9D1E-727D5002B8B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CHÍ THANH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2DBD920-7613-40E7-87AA-39EBFBECE8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7" r="657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297652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xtChucVu">
            <a:extLst>
              <a:ext uri="{FF2B5EF4-FFF2-40B4-BE49-F238E27FC236}">
                <a16:creationId xmlns:a16="http://schemas.microsoft.com/office/drawing/2014/main" id="{46FCB872-BAAE-4D70-96B4-B4D0FF1ABDD3}"/>
              </a:ext>
            </a:extLst>
          </p:cNvPr>
          <p:cNvSpPr txBox="1"/>
          <p:nvPr/>
        </p:nvSpPr>
        <p:spPr>
          <a:xfrm>
            <a:off x="4280111" y="3581400"/>
            <a:ext cx="7906956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BÍ THƯ ĐẢNG ỦY XÃ VĨNH MỸ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79350BB-EE64-473E-80BF-5B4A20CAC73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89E71B6-A7A5-431E-946E-68439D75FF7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F377B54-8736-446D-9CD7-37D262CF25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7E6C3184-9BA6-48D8-8C1A-6BE1C2C1F2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509BAC7-7510-49DD-AB13-37FE6953AB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E806C30-91A8-495B-A01E-2A43CAF77F99}"/>
                </a:ext>
              </a:extLst>
            </p:cNvPr>
            <p:cNvSpPr txBox="1"/>
            <p:nvPr/>
          </p:nvSpPr>
          <p:spPr>
            <a:xfrm>
              <a:off x="4031975" y="494318"/>
              <a:ext cx="4128054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ẠI BIỂU DỰ KHUYẾT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5D0330-6BB3-4A19-973C-391443108A3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F8838E9-37FB-46E7-8686-822A40FC357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9114B22-D875-4D7D-A1AE-999937721B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E954A394-736B-4D02-B97E-0FF9759621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E52C07C0-0E28-4161-836E-B7573FD8798A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708344-4C82-494F-9D1E-727D5002B8B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KIM THÚY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FF587508-054E-401E-92F1-EFD79F5F0FA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7" b="52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45478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NỘI VỤ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5CF23A7-285A-449A-A147-64269870A78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E5167CB-5A8A-4C50-8444-4B5DA60D41B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ED845D3-0D64-4000-A340-4D5CA62B39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14EF5B6E-FB24-448D-90F1-221E240FAB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D2CE013B-F7AD-408C-A10D-7B4AA9163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0CD5F2B-CA4E-4B8D-95AF-ED92D2605448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40CAAEE-8551-49FA-ACBC-7BE0BCC86B8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4F169BE-DB3E-44F7-BC91-9CD9A800A78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FB0E07C-CD68-4982-8DED-12691477E2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A434D00E-4BA3-4DB8-904D-36C4DC40E2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72C006A7-CB7D-4327-9FE8-C530EF189E36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5F4EFDA-7098-4300-85AE-607A90E95F9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ẦN HỮU PHƯỚC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13868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RƯỞNG BAN NỘI CHÍNH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50F311-C2EB-4122-BFAC-F6DC7F4A42D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FBEA1E0-3460-4704-BE0D-A797E18AB01A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B9E0D4E-F3F0-4CC7-AE7F-5926551410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2715A51-E88C-4287-82CF-822939B20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CEE2117-B1F6-45CC-A8DD-1290E3CCBB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EC52A20-A410-4991-B9EE-F914AF2C50A4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BAB4613-9683-4177-82AE-A13E74090D9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5D99CA2-E74E-4917-AFE1-7363A5756D31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965E74E-DDE2-4BFF-AE7A-9B9C38D312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45DED6F1-DB1E-434E-A5F2-22505272861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2A35397D-7517-4E53-8930-313D8BFFCAA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4B1B78A-6570-4929-9C57-071AB0F7767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BÌNH TÂ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70807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 PHƯỜNG BẠC LIÊU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ADC0853-0D6E-44FB-A17B-326F7DBB2CAB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9C0932D-DC76-480C-873E-12F8DE8155B2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A9E64F6-B5E8-4567-9D34-A2286AB37E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115A7AA-140D-4A6C-AEF8-E220AA1A5D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12AC4CA-BFA5-40BC-A333-07B4F182C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C4C8A44-9417-4F02-AB65-D0721017BED8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523C19-8923-42BB-A134-2A0BC2C36A2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5A15DAE-497C-410F-B497-E3939E1F3C9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73F069A2-3137-4575-930D-0215110EFD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B80C5DD1-C005-47F7-B70A-4A3FAAA2192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302E6836-51BD-4BF1-9D9D-374AD7370C91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20644CB-063C-4BB6-985F-467929B2A66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Ô VIỆT TH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76966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838498A-994C-4978-9FA4-AD37A604DAD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826F76D-E0B8-4DE8-ADFE-C7A6CE58BC1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2120687-2F6D-4790-ABD0-CD22EFF417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33D10DF-8E9B-46B9-9937-1E3974E10C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B82F9BC-E1F6-443B-B8A2-99D0A9CD1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2DD6A08-6013-457D-BC04-8A08D2C11C84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3E1F9F5-DD3C-4D2D-A1C0-B51D82BF233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A24450F-4D5B-42E8-B4B4-5600B7C5A9A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02AE8E3-905C-48BE-9B9C-C0054734A5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672E8B5-218A-4DFE-96B9-8A079F3DDB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ADEEA1D6-0BC1-46F2-8DC3-D97AC1F71F4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EF07778-EA8D-465D-8491-AB02A4935FC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HỮU TRÍ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905387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spc="-9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Ó </a:t>
            </a: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HỦ TỊCH THƯỜNG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RỰC 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BAN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MẶT TRẬN TỔ QUỐC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C30B90F-EEAE-4F35-BDD5-ACBCF519CD4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D9726A4-A96C-4F0F-865C-7C80FBC5077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312EB3D2-E00C-40FA-AABD-C2C7C45D02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084769A-135A-4A27-8390-C59666D71F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DC336AA1-FF79-4B36-AF14-E28633E59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CA63D02-7716-4098-B6C0-A29805C551A5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2230058-F8F3-4DB8-A374-A32395BC167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32D99E1-8FAC-4204-A8B0-276E61CA7FC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4216548-5DDC-43EE-A566-E47E9B0AAA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54D2B211-2FB2-45DD-BE18-05CAAAD49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0E5C3C92-AD77-4CEE-86B3-EC1372796B5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71C307C-1D34-4A08-B80E-DC54D0AC303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ANH TRIỀ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02578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6" r="2926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CÔNG A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FD1FE46-713B-414F-827B-357B4493DD20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28B9DC2-9000-48BD-B851-AE59A5ACF5B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0BA95A0-05FF-4890-AB71-A5EFDC1B79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959F0083-2D4E-4D6D-A81A-C26FE20CF5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7336D2A-ECE3-49EA-9F27-4F6BFD5AA2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F78BD92-DC89-4011-87DA-F0B47C9FE3AD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1A75CA8-A40D-41CB-8F6B-54D0F14AF9B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3FFED3B3-D79D-4FBC-8B48-24A438880E1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48FA7C1-6D10-4B13-91AE-6C6E0B5552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B623441F-75C4-4D63-B866-51C55399F77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3B2FC85C-CEF3-4F3E-89BA-D39E51FA8263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64916C4-5CB5-468C-A8FF-6BFFA5E4BF3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VIỆT TRIỀ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64684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3A36366-D0D5-476B-ABA3-6439BB7BE09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0602E51-41FC-2A25-EB2D-890B77DF73E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12" name="Picture 11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3245CEEE-862C-F85B-3EC7-3E2672FD3B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13" name="Picture 12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5F0C8B6-9791-2313-445B-42CF8FD99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2" name="Picture 31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C5CC16C9-DEE0-BB84-ADEF-FD2FE2F27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AD6F87A-6F49-4987-A3C7-F8B770235DDB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D582D33-79AA-412C-8899-3BBD60F0E91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608E6A7-BBF4-4FA5-9529-4DB4F2BD320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CAFA010-BCF7-4315-91D4-F63C09F6DF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0" name="Light">
                <a:extLst>
                  <a:ext uri="{FF2B5EF4-FFF2-40B4-BE49-F238E27FC236}">
                    <a16:creationId xmlns:a16="http://schemas.microsoft.com/office/drawing/2014/main" id="{2070B028-8D0B-4D4F-9DD2-A2B1C0CAD0A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1" name="Graphic 30">
                <a:extLst>
                  <a:ext uri="{FF2B5EF4-FFF2-40B4-BE49-F238E27FC236}">
                    <a16:creationId xmlns:a16="http://schemas.microsoft.com/office/drawing/2014/main" id="{324E1756-53A7-4D7D-BAD8-28438F9EFF6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5BA6B75-8A6C-40B6-AF09-CFEFADD0066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Ồ HẢI</a:t>
              </a:r>
            </a:p>
          </p:txBody>
        </p:sp>
      </p:grpSp>
      <p:sp>
        <p:nvSpPr>
          <p:cNvPr id="45" name="txtChucVu">
            <a:extLst>
              <a:ext uri="{FF2B5EF4-FFF2-40B4-BE49-F238E27FC236}">
                <a16:creationId xmlns:a16="http://schemas.microsoft.com/office/drawing/2014/main" id="{75BE8BA6-0602-4CA5-9133-AF7AF070C6B8}"/>
              </a:ext>
            </a:extLst>
          </p:cNvPr>
          <p:cNvSpPr txBox="1"/>
          <p:nvPr/>
        </p:nvSpPr>
        <p:spPr>
          <a:xfrm>
            <a:off x="4191000" y="3429000"/>
            <a:ext cx="7996066" cy="9050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b="1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BÍ THƯ TỈNH ỦY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33687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RƯỞNG BAN TUYÊN GIÁO VÀ DÂN VẬN</a:t>
            </a:r>
          </a:p>
          <a:p>
            <a:pPr>
              <a:lnSpc>
                <a:spcPct val="150000"/>
              </a:lnSpc>
              <a:defRPr/>
            </a:pPr>
            <a:r>
              <a:rPr lang="zh-CN" altLang="en-US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zh-CN" altLang="en-US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388ABFB-991A-42FF-A08C-04D4388BE457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FF01BF2-3E20-47E3-96D7-D88BC0A6925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E5A6B80-C0EA-402E-8F6B-42E728216F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D10B222-4E78-4D25-9B62-4B15301ED5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9F1094C-591E-4B83-AEAE-1C356F01B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5D6AC67-5B0E-4085-ADDA-715B42A6E0AB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9356164-363D-41A7-8584-927CC1D21889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F3F8B96-D3DC-4BF2-A8F9-31DE27B9958B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3D3A5BAD-2FF5-4BC2-AF99-89AE7BB3C5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1C8D2081-49E0-4ACE-AD71-8D1479FD76B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D1307AA3-E106-433C-8E11-2615719BB54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533C1B2-38FB-4600-9AAF-19176F5E16C7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TRUNG VIỆ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364818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TRƯỞNG BAN TỔ CHỨC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B6D0CA2-8915-40EE-B6D3-5EA63DB3A6E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646177D-0959-4193-B02B-9BEE92AA4A5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F83C61A-EA0C-4631-92BD-12700BBBD6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850D26B-1E40-4AAC-B9F7-5992CD27D6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8A63B9A-20F1-48EA-B8ED-5CD65596B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3D5FBB4-2A37-478C-A4FB-4F0DEDA08100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50DB4E3-3179-4E38-BB40-DCD12015FD3A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AE7B2CE-EE77-48AC-A640-EB2BA70C23C2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7272AE9-03D8-48F3-A6FE-5A03B08024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E1CF8EC9-8FFA-4FA3-BDC9-F6403E439D5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042F35AD-7F04-49C5-B724-8C2403B9A04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0CBB03B-59F7-474A-8421-CCD06C18F4CB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Ý CÔNG BẮC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19391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68" r="16368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KHOA HỌC VÀ CÔNG NGHỆ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345D4F9-B168-4B1F-B398-717D243242B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DF699EE-D1E2-407C-9A4F-2EFAB89CCBA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B4717810-3A68-402F-89CE-2327638853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786A5C58-852F-41AA-B630-00429F70A0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56C442B2-F6B9-4E0A-8DB7-328895618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DBE0BE-4746-4C20-AE47-365C085B6FAE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BBFAED2-FCE9-47DC-A12F-E478559C204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D30D58B-4DF9-48B3-B77A-FE641E22BFA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D4F31F0-82ED-4972-BEFF-CD9A127A22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4906818B-9373-412B-8F84-7D5D397C46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BD9420EC-1E28-42BC-A868-182FCE74E00D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89316CA-DB3B-48AD-88EB-B06027984AF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PHƯƠNG BẮC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115607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8" r="5168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ƯỜNG AN XUYÊN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580D69-6F72-4FD9-A850-EF2F1B097D4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4235CB4-9AF2-426B-9AF9-3333389DDFB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BBDC9A7-3E56-42A0-B08E-B6794FB40F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3FBD342-C6D6-4C29-9D37-27810055EB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FE8B77E-0487-4A2B-8D17-82419702D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E57EC64-BB72-420C-B6B7-F1201A81177D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F9DFAFF-27D5-463A-9586-574AB6D87E9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53A2BEA-6A20-4FB6-961F-8BDFA30A755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B990610-DA41-4EF1-A752-B7BC7DD89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B1C9B89A-36EC-4A5F-B766-730C9F2448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0934A475-3F1A-408C-ABF8-4EC5044A4F2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0C5779E-8CDB-4983-8150-09AD9FBCD21A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VĂN CHU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665993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7" r="559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 XÃ GÀNH HÀO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8703407-4AFF-4D3A-86D2-09F86C8EC47B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FF7FE33-519D-4467-B5A2-C37D806D010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3F45463-65AC-477C-B2CE-5AA26CFFD4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0381799-C980-43A9-8035-7AFF620F94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C53AA91-18F5-43C6-8119-20E966145D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60D637B-DC0F-4771-AE23-CF37FB67E6D7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29E750A-F90B-4D73-B88F-3F676E4FB0F6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D35B0BD-78DF-46BA-AC3A-2DE77462DA9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4686CD8-77C7-4F29-83E3-4802B108C2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288F41C5-3A40-45A1-BF3A-3028FED31F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179E82EB-7F25-471A-891E-67624CE096E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6FD3B48-45A7-46E7-8694-69189B1D45B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UY DŨ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4313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D55AE79E-E602-4B21-8C4F-E60EDA8AEDCC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XÃ CÁI ĐÔI VÀM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0E13C0-062F-46BE-AC3D-9649A461F73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6B5FED7-AF8A-46BB-99E5-5121E2193B8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8C7A0F8-862C-4266-9236-384FB85B5D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F155853-04FC-4A67-BE20-FC57A5B975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A024D9F-0767-480B-9382-EB6655B99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A0FA760-6A9F-4915-8549-0E30A872C607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23ED14F-6128-4177-9BE4-3AF88DF6384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01848A5-28E1-4D69-9357-0E4A0596C06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15080D5-8C9C-4A1C-B979-AB01941A55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2AB432C3-8840-4D6F-BB08-7C1CCAE51A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A899793F-80D2-4F57-A78A-D735B1BE80F3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9A5E245-E597-49D1-8515-8B0DAC89224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OÀNG ĐẠO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644395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D55AE79E-E602-4B21-8C4F-E60EDA8AEDCC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ÍNH ỦY BỘ CHỈ HUY QUÂN SỰ TỈNH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73334B9-83A5-4794-BEE9-47CA7F95E24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1D1F0D8-4915-483C-9FF1-05CE712E380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9E1D709-5D02-4187-84FB-956DC1F7C4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095F77C-7314-4016-878F-D91BA89F2C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F30AA6E-F403-4CF6-803F-84DB6CF9FC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11F4E0F-8666-4820-AACB-A3E18C024379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8656CB2-6D4E-4BFC-BCCA-845C0E137189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3E11DAC-EC3C-44DE-93FF-AF776A7212FB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38074E54-68A6-4080-9D24-78D972926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02ED2211-FC0C-4423-B058-6A7010B380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09D453CF-E7B3-4EBC-93B2-A37CDED24021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4BC1FB8-6615-4006-B026-DF758C48B62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MINH GIA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602503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BAFE352E-92F0-4245-9FE6-81AB7C3F282F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ƯỜNG GIÁ RAI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3A8983-44AA-41E1-97C2-D5321B675FDE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D205870-4974-4B79-BD4F-125716AAB6D6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97C7A88-7E04-42FD-9F34-AF81F2F525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2D05013-DD6B-44FC-AC1A-745E367941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4039E9E8-019E-4A19-9617-84C4C64151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BA373CA-3622-43FA-AF09-E5C5ABADF981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0B40AD3-B15F-471E-B1C0-85EA112AFBD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E77F14F-36C0-49D6-BEA8-0DAFEEB92B2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01DAFA5-8BDD-4FF5-BE58-26F47C890C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AA5CDCEB-BA41-4B43-B59A-D5E080839C7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5B7EEF0C-1BA0-483F-8A08-4A646186B8D1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8E98FA3-D10B-49A4-BA98-28C94030D82B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MINH HẢ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454482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BAFE352E-92F0-4245-9FE6-81AB7C3F282F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ÁNH VĂN PHÒNG TỈNH ỦY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543C1B-1047-4CE1-97A1-53A3DF909391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A71D3F7-873B-431A-8408-D59B8554E74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22D53298-8E1A-4A73-9641-83653EBD0D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0E7D42ED-89F2-4842-B22C-492A7F13A7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B6B3028-EAF1-4C4B-B505-A6ADB4269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03AB3BD-8755-413C-93DD-5F4B644A35E9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FDF5F3F-1A5B-4DC9-B9DF-8911EFFDF5A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2D060B6-FB73-44A7-B149-1C3CA1C4565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DC95A7F-C77B-4EFA-A5B1-E471BADC92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3690BD65-FF97-4338-9E1F-43DA9314C40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D106DB0C-6DE5-4D65-B218-D6F67B8A2089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CBDA1B9-B935-431B-AF9A-ACE5735A1BF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UẤN HẢ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053438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BAFE352E-92F0-4245-9FE6-81AB7C3F282F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XÂY DỰ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F59EF0B-E72D-4678-A074-E2A9671E148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745069E-53ED-464B-9AE7-CF218F96AB0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53F082C7-7E7C-419E-B51C-E80E7EDF6F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0992860E-0E0A-4B1D-A6B8-3805F31DE2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04D9BC33-FDA1-4742-A2A6-B5A1F004F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EDB42DC-AC91-4886-B5ED-687F485E3F2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B05A9CC-7CC0-48E6-AAD3-A1678846C38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1DB2265-D2B4-49F1-80AB-319CFFE8229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4D4FC30E-B0EA-4756-891A-8363B3A4D0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B5B85CE4-4BED-4F75-9AAE-F3140165ACF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4337C2E6-5EEB-47F1-9CB3-6836939EF7B6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0EB9E61-CCE9-4E44-AC67-58CCAD11753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DƯ MINH HÙ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20268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6103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b="1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DỰ KHUYẾT TRUNG ƯƠNG ĐẢNG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</a:t>
            </a:r>
            <a:r>
              <a:rPr lang="en-US" altLang="zh-CN" sz="2400" b="1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Ó BÍ THƯ THƯỜNG TRỰC TỈNH ỦY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</a:t>
            </a:r>
            <a:r>
              <a:rPr kumimoji="0" lang="en-US" altLang="zh-CN" sz="2400" b="1" i="0" u="none" strike="noStrike" kern="1200" cap="none" spc="-1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H</a:t>
            </a:r>
            <a:r>
              <a:rPr lang="en-US" altLang="zh-CN" sz="2400" b="1" spc="-100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 TỊCH ỦY BAN MẶT TRẬN TỔ QUỐC TỈNH</a:t>
            </a:r>
            <a:endParaRPr kumimoji="0" lang="zh-CN" altLang="en-US" sz="2400" b="1" i="0" u="none" strike="noStrike" kern="1200" cap="none" spc="-1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843EBD8-244F-4A16-9619-600C424290B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0EAD406-3320-4147-8582-D523352F154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F6E5186-061D-4850-B5C5-79B4FE26CE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0" name="Picture 39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A7B89AAF-1441-42B5-BB3B-39B8ACF29A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0" name="Picture 29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660F0312-2577-46E9-B1C4-FE7D9D4A914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5D32A96-99EF-4CDC-B8A3-7D3E9AEAF0FF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23F90EB-A730-497D-A9BC-3BAB3536B44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FE47D5E-7989-4C51-8935-4BC146956EC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F729774A-C637-4E7A-8BA7-6BE83C2EF3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9" name="Light">
                <a:extLst>
                  <a:ext uri="{FF2B5EF4-FFF2-40B4-BE49-F238E27FC236}">
                    <a16:creationId xmlns:a16="http://schemas.microsoft.com/office/drawing/2014/main" id="{7A1E8777-E814-4B92-8D7E-45216EE8EA0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0" name="Graphic 30">
                <a:extLst>
                  <a:ext uri="{FF2B5EF4-FFF2-40B4-BE49-F238E27FC236}">
                    <a16:creationId xmlns:a16="http://schemas.microsoft.com/office/drawing/2014/main" id="{6D734A4F-A775-435B-B5E0-B080192F848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BED2DBF-AC3B-444E-8BC9-2715423685E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QUỐC VIỆ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335591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EDCE9663-FE8B-45C6-AFFD-33E9B8F4FA32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XÃ TẠ AN KHƯƠNG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3924F2C-B19C-4D80-969B-3BBCD6590EB1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2420048-6824-4D30-8190-08391C47779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EB72250-851A-40B4-BF30-B3D8631D53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0D0F6D8-7E2F-436D-8F64-D1D12A19BB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BD2B162-97A9-4E87-9091-A1F7219C66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8CF320A-E43C-4E7F-87E4-2873D59BBB02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CD31258-CA9E-4E63-9CF4-B088C9924AD7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81CA874-6E97-4A93-AE10-E8B35A3441B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D45E8E-6BEA-42F7-A31D-AEDC5F2E02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0" name="Light">
                <a:extLst>
                  <a:ext uri="{FF2B5EF4-FFF2-40B4-BE49-F238E27FC236}">
                    <a16:creationId xmlns:a16="http://schemas.microsoft.com/office/drawing/2014/main" id="{D866778D-D7A2-4398-AA33-933D2239E0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1" name="Graphic 30">
                <a:extLst>
                  <a:ext uri="{FF2B5EF4-FFF2-40B4-BE49-F238E27FC236}">
                    <a16:creationId xmlns:a16="http://schemas.microsoft.com/office/drawing/2014/main" id="{35FA88EE-B412-4601-B69A-C3DD9E6CF442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C164584-7892-418C-B027-32E4020ED096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QUỐC HÙ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269834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7" r="584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EDCE9663-FE8B-45C6-AFFD-33E9B8F4FA32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GIÁM ĐỐC CÔNG A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153BEC0-6AEE-4D32-9712-E7E14F449F2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762CA7E-9967-4FEB-A802-C8841DA34456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60AFCDF-0CA8-4A88-93DF-0A22976B94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671C662-001C-4AF6-91E8-760A31EB7E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D0A6CF2-9958-40AA-81FF-3877F58154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65E5FA7-6841-45CE-BF9A-0788739B76A2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C244821-D612-4F94-8371-4EDBD60711E7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CF1EDD8-AF3D-41AE-B2A3-591936145FD7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D55E499-9816-4468-8DBF-E4ED32AA3F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3B14E2C8-5BA7-4C2B-961D-CE4A2426163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38F09EE8-BBBD-40E3-91B8-7724426C793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B050778-1C38-4543-9373-5DD673E8C36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CHÂU QUỐC HU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201969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EDCE9663-FE8B-45C6-AFFD-33E9B8F4FA32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ÁNH ÁN TÒA Á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436F0FE-E26F-410F-9186-64E3AC2759E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7B91074-A96C-49FB-BEE3-433FD3512476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4826F41F-C200-464A-BA0B-9860F5E427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1385DA6-E310-4D62-B508-AA53AE004B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74C5C92A-A4C3-404F-B119-FA9E39CB03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F19C3A2-B717-4A64-8633-503674B60A04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BB3DC68-08F7-46D8-AE23-CAC812D5BEE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7E931CB-12A7-4979-95BE-CC1DF631DA89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90DE91E-452D-44D4-9B44-25086677E8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87417CC5-7B4B-4689-BD0D-E17575C50A7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6CF29CB9-DDE9-472C-87DF-317D79B6021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2ACEE52-4312-4113-A60A-3AC3503CD33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ĐẶNG QUỐC KHỞI</a:t>
              </a:r>
              <a:endParaRPr kumimoji="0" lang="en-US" sz="4000" b="1" i="0" u="none" strike="noStrike" kern="1200" cap="none" spc="-89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 New Roman" panose="02020603050405020304" pitchFamily="18" charset="0"/>
                <a:ea typeface="Baskerville" panose="02020502070401020303" pitchFamily="18" charset="0"/>
                <a:cs typeface="Times New Roman" panose="02020603050405020304" pitchFamily="18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77717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0" b="2090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EDCE9663-FE8B-45C6-AFFD-33E9B8F4FA32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MTTQ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HỘI LIÊN HIỆP PHỤ NỮ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3C8E8C5-A46E-4950-83E3-54BD19E27D8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DE85FCE-81D6-4A57-800E-4FBB894060F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25387426-3978-488B-A1B3-B087262D40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27CD19D2-27CC-440D-AB29-B31D4E101B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7E04951A-3B63-41A4-9560-D9D5748D5C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CA27382-C056-4EE5-84B2-934735588A7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7C89F63-1A4D-466B-A00B-A8E9AF524374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D2787CF-2510-4067-B41C-B3BF9ED558B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9A73D12-9891-464C-86FD-827E8B8B6B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54BEA5FB-937B-443E-9FA3-36262BCA724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5416C826-E5E0-4A33-9C20-2C43D4489158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47F902D-F5C0-48B7-934C-2A148DF914E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Ị NGỌC LI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739710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" b="348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EDCE9663-FE8B-45C6-AFFD-33E9B8F4FA32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TRƯỞNG BAN THƯỜNG TRỰC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BAN TUYÊN GIÁO VÀ DÂN VẬN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F511FAC-B200-480B-ACFA-182083C4709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9A77EF4-085D-4873-9587-96A42B771D7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E32DE10-118C-4740-9C01-90D5512D8F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A4010EC-1064-47CA-BA93-687AB78D04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51441662-E8FA-46BF-BFE9-6C7CF13B76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D760231-AEF3-4748-A8F8-FB99CC960BBF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2621E78-06EE-4A4C-834C-98644D0ADC05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A029DCA-D7E4-4C19-B314-C29F918A3EB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53A2F77-481A-4035-A2D5-B588BB9D8F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B76F0947-CA6E-4E35-B1D9-5043F5EF7FB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448ADF98-8EC5-46CD-BE57-AEB9D72C4808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EFA9696-8BE5-44EB-83D7-9FD6F67D488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VÕ VĂN LỰC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216268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MTTQ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LIÊN ĐOÀN LAO ĐỘNG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95EA981-7710-4D40-82B0-CB277DFF7F5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4AE99FD-9AA4-4FF8-9552-318370CE39C6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976C0A7-2C93-493A-BE7B-9EEB43C7D0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07D52298-A7D3-4EDA-9138-D04296D9DA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B535BD1-7172-4C3A-AFAE-AC1FE11C7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E07B11B-EF8F-4052-B1BA-EA01296D9380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1048B52-8DA0-4E33-9DB5-1C7FBE2350E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713C2F1-73EE-4635-B7B8-8840A986FDD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722ECF8-5336-438C-989E-C0B5F3084F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223CD9D5-330B-4F0C-9323-72E73DB111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38F4589F-84AF-4B74-8722-BFA8BBB7A9D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4C55F6E-21D5-4E77-B5A8-4CA177FF626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ÚT MƯỜ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819133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r="305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RƯỞNG BAN QUẢN LÝ KHU KINH TẾ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6C15A09-CB55-425F-AF2A-3848963B2FEB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2CAE968-93EE-41BA-BF1F-1B6FD7F99C01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E5E6D20-E516-4DDE-A639-73BA6714FB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D31ABEC-A253-479F-A51F-A26C901857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D50AD21-454C-474C-BE60-81A81E73C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A506025-F715-427D-BB75-BDF8D6094014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EC5CFBE-EEE6-4E60-85EC-9C255379C73D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E9E3A35-D390-44CF-A30B-AC7285D1730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64FA04B-4516-4766-929A-54FDF818FD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3C455198-25CD-4D34-A8C2-FBEA101CEF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ACDF86FF-E145-436D-8F65-987D9772D46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AFA50C1-10E2-4CE8-967C-1A1E5F0724EB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DƯƠNG HOÀI NAM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70129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31B7ADB-54B7-440B-911D-B48CA492C0EE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B81F2A9-BAA6-4CF0-BCA3-0169700D939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8E2990C4-38D5-4835-895E-ABF6AF14C9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549EA892-8E02-470C-8867-7C6F38CA50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B48A65F3-746F-43B1-B84A-F2EB98E84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8FDA791-CEE8-4538-B005-B6C06A45BBA7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470B9E-0CAC-40FB-B1D1-3E3D97CE6E86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69C8363-D94A-448B-87A5-D8FE42C77675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E523D60-7D32-4CD4-851D-717DA6E5D2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C9879D14-2DF1-4E6C-B179-0C7DCD0BD20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262BAB9F-92B0-44AA-ACB0-7C821F1E5F63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4523799-8E24-4258-997B-457AD875B7C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CHÍ NGUYỆ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616259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8" r="1268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 XÃ VĨNH HẬU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BA98EFF-FC32-4E2F-B24E-84AEE68F537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16D5AED-871D-40B6-8473-97302939118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BB797479-DD81-492F-94D1-C7139540BF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74C90DF1-F56E-4AF4-A780-EBD6DB42B2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5C818ED-53E3-49A1-9629-299D23D758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CFB804A-B0A5-4118-B58B-70856D8EE092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E5DB385-E2E8-474B-B46F-E17AC714B3A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6E9D69E-D20F-40E6-A62A-2C0ACE28C825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41A8AE7B-C46B-460F-B133-11CA30554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51BF775E-A0C9-4B60-985B-06F3D05F26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9EE12D21-4A38-4AB5-B658-2898830C26E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44F6963-D4FC-4CBA-B173-7BE42AC4A3F2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ƯƠNG THANH NHÃ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922304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NHIỆM THƯỜNG TRỰC</a:t>
            </a:r>
          </a:p>
          <a:p>
            <a:pPr>
              <a:lnSpc>
                <a:spcPct val="150000"/>
              </a:lnSpc>
              <a:defRPr/>
            </a:pPr>
            <a:r>
              <a:rPr lang="zh-CN" altLang="en-US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zh-CN" altLang="en-US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BAN KIỂM TRA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0F6D10F-5B5E-4258-A493-BD8209561CE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2C69193-BD4E-40E7-8CD5-AC7ADD2CA51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3A55475-DFBE-4A23-99FC-7AFA75C184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51CFF98D-90AB-4349-AF64-5B951C5425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9262B71-A601-4C35-AA8C-4C072B43A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49CA4D3-5877-486C-B138-2DF3093DD318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E1F74AE-7EE9-4C11-9D0F-5C49996CD48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2AB56CE-E007-49BA-BBBE-65B675D23102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B550449-D74D-440F-8B9F-9AAC8FD5A4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506CB4FC-519B-4D35-936E-985CE9CEF9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4A8CEB9E-16B3-43D1-8D8F-99D8C631B99D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1B80E1B-9DDA-4B25-A880-F9D3163DD33A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MINH NHỨ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40202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61031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BÍ THƯ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7E83F31-CF76-4187-96E0-4B973F0991C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AA06FF4-0E76-4546-8B47-D8F0C0A808C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B833D814-D125-44A4-8793-843AA5240A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3A60780-615D-414B-AF1E-DCC726C439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0AE1E38-F3FA-4461-8367-2B331E7E3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F369FA-F8E1-46C3-B45F-2B7E0D17A8E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C79FC55-6EE0-4B2A-8431-5DD1C0B9606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D8AA384-620A-46C8-BF28-6B1F07C84A0D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1ECB5AC3-DD4E-4D1F-80A7-C2BF629154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8" name="Light">
                <a:extLst>
                  <a:ext uri="{FF2B5EF4-FFF2-40B4-BE49-F238E27FC236}">
                    <a16:creationId xmlns:a16="http://schemas.microsoft.com/office/drawing/2014/main" id="{52D1B973-5927-441B-9A7A-C8920CE95F3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9" name="Graphic 30">
                <a:extLst>
                  <a:ext uri="{FF2B5EF4-FFF2-40B4-BE49-F238E27FC236}">
                    <a16:creationId xmlns:a16="http://schemas.microsoft.com/office/drawing/2014/main" id="{1F32F22A-31F8-4669-8988-AE62B353334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73CDB71-48C3-4C72-A976-A6785C10DEE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VĂN THIỀ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499347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ÁNH THANH TRA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334FF09-6B5E-49CB-9917-DB252FC92FD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700F5E2-507A-4327-B740-17D7C79AD84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4170A995-1DE0-4A2B-A187-91ED673422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5BA1F8D4-02A7-4BB2-876F-7E4B73196D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38696AF-E946-4968-B636-12BE90CCF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42BAFC7-0921-4D2B-92E2-2D379692E38B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8DB9635-EF40-47F8-B4CC-583A98DD2BB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3BCC6BB-7B0A-42D5-9661-D3F940FF69A6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6E65F25-5552-4799-B3C9-CF6165B333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11B8EBC2-771E-4493-BD78-29CA7BABC3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0FA63DFE-3AFA-4DD1-A4AE-CF4A3117798A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8493F2-F1C4-480E-98D3-AE3BC33B8F41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MINH PHỤ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982157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1816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spc="-11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VIỆN TRƯỞNG VIỆN KIỂM SÁT NHÂN DÂN TỈNH</a:t>
            </a:r>
            <a:endParaRPr lang="zh-CN" altLang="en-US" sz="2400" b="1" spc="-110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1B3519D-28BD-4133-A78D-3E50D0317F8E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C830E89-9FA7-4E76-84E7-4E33EA620B7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2CD171C-0374-4B3E-8C29-91B946C298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283B6B73-1A30-4892-83AF-897035E0CD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D5559E02-6186-49DB-8066-B925E5258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6722BED-66BE-4AAB-BBC8-2F067557B0D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B02D968-BACF-4023-BCE4-EB2A46723EAA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1CD1BDC-A0C2-4955-BAEE-037D6389398B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1BE22B2-6386-4E14-8618-56FBD31FA5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689AC6C3-5B62-4304-AA5C-8A3C76AC967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619427D3-7E12-4B63-833F-339DCA53E5E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69BC473-4FCA-4B3E-AB64-0C2ED38E58E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ĐẶNG DƯ PHƯƠNG</a:t>
              </a:r>
              <a:endParaRPr kumimoji="0" lang="en-US" sz="4000" b="1" i="0" u="none" strike="noStrike" kern="1200" cap="none" spc="-89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 New Roman" panose="02020603050405020304" pitchFamily="18" charset="0"/>
                <a:ea typeface="Baskerville" panose="02020502070401020303" pitchFamily="18" charset="0"/>
                <a:cs typeface="Times New Roman" panose="02020603050405020304" pitchFamily="18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316925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1816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</a:t>
            </a:r>
            <a:r>
              <a:rPr lang="en-US" altLang="zh-CN" sz="2400" b="1" spc="-10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IÁM ĐỐC SỞ NÔNG NGHIỆP VÀ MÔI TRƯỜNG</a:t>
            </a:r>
            <a:endParaRPr lang="zh-CN" altLang="en-US" sz="2400" b="1" spc="-100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0A2595D-AA55-452D-8418-520E6CCC862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6A8C1CE-FA09-4C07-AC13-F3072D11119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C9B14003-82E4-4A49-8C29-7F307A5D3E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3AF29CF-F5F1-4E6C-B281-24B1A0A43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B4939E1-4359-41C8-98D6-A3C7EFC0A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15ED396-A912-488A-93B9-933DF8A8860D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B641500-1270-4694-9D74-4A3B1A8839B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B21E0DA-0403-4EB7-AA19-308D1638F8E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A90F962-985C-4467-99F7-E7820C4435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5B8B24A0-F387-4FE8-B71E-3D39AAC08A5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042617B1-62C2-4563-986D-D1C440565423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198F1D1-D85F-4E7F-A56D-7C6F847C20B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Ô HOÀI PHƯƠ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384769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" b="1219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ÁNH ÁN TÒA Á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03F9C8-3FA8-4516-86F3-D425AC2E4E3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DD7BED6-054C-4C7B-90CC-86711F61C3B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89855C0-2445-4B37-AA8E-D02BFCC07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D745F372-B1B1-4DA0-9DA1-C9D99D4824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1CA3D13-408E-4D6E-9F4C-6B337236A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1567D9-2670-4BDA-8164-B08A6F692B5B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8658F03-66F3-4DA6-9B65-47FBEE1BB96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F023FEC-8D46-43B8-8C42-9E6B93ED261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18603AE-109C-479B-8A12-23C52AF5CB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030B35FE-4F2E-4BE2-9443-3DD134C92F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CDE1FBB1-2D3F-45BD-8E02-2EB9441EADA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F523898-BFC7-445B-8005-29ACA29F6E6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HÁI RẾ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3108208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5BC4D8D-5E33-4BC5-BEA5-EA93CB85C46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C7E8A3C-F3B8-43B6-A437-6BE6C560E93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E8A4830-7939-450E-945B-6F0A2D206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7B2929C-FE35-4179-B359-FAD4B505C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E681474-A3D4-44FA-B114-E9BEDFE46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FA3003B-19DE-476A-BEE6-24429ED16C32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A8751FA-A221-4563-B0F9-597F70BF592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1DEC528-9208-40BE-92ED-ADF10A6B11A1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520E6BD-ACE3-4790-96F5-ADD5808BC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90804ED9-F9C1-4A7C-B31E-19D4328115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A59F6AD0-EB14-402F-AE8C-80467D8695A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BBD7149-5CA5-4D66-BAD4-2874AE3660EA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VĂN SỬ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6569421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0" r="1660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TRƯỞNG ĐOÀN CHUYÊN TRÁC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ĐOÀN ĐẠI BIỂU QUỐC HỘI KHÓA XV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57A8079-EB8C-4E58-942B-B1813C22B38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2E600B2-F16E-44B7-A437-F939715FE12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E7A15DF-52DF-4FAD-B1D9-9B38F08964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87E0B25-C44F-418B-92CA-5AFFFABC7C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158FF0D-3735-49F9-8609-6B9E751FAB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769496F-AB2F-4A59-9A9B-2B8AE90779C9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2F9E2FB-DA1B-42AA-992F-5281D9FC98C9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FE039F1-7923-40DE-8A06-74E2A2F23457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6FC5E1A-6445-4D76-BA4F-7056B8ABC2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6311B5EC-DF75-44ED-99AF-109E52032B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F4992D43-E89C-4E73-9784-6675C665ED4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0A19606-2BED-4DBC-90B8-559C5FDB3602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UY THÁ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2174066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Ỉ HUY TRƯỞNG BCH QUÂN SỰ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3B4DA1-32EA-478A-9F1F-770AF954B48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0BFC3D8-AE36-4295-B430-608628E9FEF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83A9878-4243-4CDC-9D75-0627494517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F259FCF-D241-47B3-A0F5-22EF6DEC99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EB2EC31F-D22A-4AF7-AEBA-94069414F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578E092-6D15-46DC-8D28-B622FCEA145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2928715-04CE-4897-A76D-59D9CFE14C0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69B798D-9F36-4FAC-8D4A-B5CAEADBE999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E6EA558-C68A-46D6-B6A0-7D101F9317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0F51D762-3B71-4A75-B63F-4DE90EB2310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4C4B1F48-F831-4D57-9C27-E0F8C3DA9408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B2CDDF8-8D72-47DB-82C9-66F5B8D81A0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À VĂN THA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8213574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</a:t>
            </a:r>
            <a:r>
              <a:rPr lang="en-US" altLang="zh-CN" sz="2400" b="1" spc="-15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IÁM ĐỐC SỞ VĂN HÓA, THỂ THAO VÀ DU LỊCH</a:t>
            </a:r>
            <a:endParaRPr lang="zh-CN" altLang="en-US" sz="2400" b="1" spc="-150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A9C6B4-7564-4E1A-84FF-14CE53DA691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35D67B5-B810-4AEE-906F-C6231AC85CD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CDE4484A-EA7E-466E-9890-83DEF528BD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EDE9B5B-C696-4BD2-AF67-62FC6289BB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0015CF2-07F5-4899-A73C-CB89F34BEF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FF577C0-9E4D-401C-ACAC-326970135147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16DE5E5-EC84-44B7-B1C9-3D5320E0CB2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642BE9C-CB22-41D2-A905-BBA84C19E68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82424FD-05EE-4113-AD90-C64EE75692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B953F4E2-9D03-4F3E-BD5C-70586E96BF0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E4F1373D-74B0-4495-8F42-0ABD41625AE4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C18A495-FF55-4912-99C9-2EDC56430D52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QUỐC THA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244756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TRƯỞNG BAN NỘI CHÍNH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F3DE49A-5941-4A48-90CB-704F7C63185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3C6FB61-EB67-4AF9-8B8F-0394F1336EAF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F0B8449-F134-4AC5-8196-C310BBE7F3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D4D2031-F0A2-43D4-B1AC-4753E2CEA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EA40BCB8-440D-4025-97BF-ADE877917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861AF16-5215-4095-BFAF-71C8E10B1789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2208B79-2ED2-4059-BCAE-ACB05B5087C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59F1CE0-0E7E-47BF-9B50-8F097C770CB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8B99D59A-AD29-4B27-AFCE-8702A73A1C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B4FC158A-A12D-4A49-B5A6-C6B5C1F2AB1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44A616FE-C4CE-46D3-8889-6829C7756C9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BEF1F9-FC11-4B76-B092-396990F6F79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OÀNG PHƯƠNG THẢO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02475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45C702-1726-4C1C-A0CB-DB3AB0D30E5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D4BB59D-FE3F-4E38-964B-75D9D96FB5E6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C88E3C1-5E50-4FAA-B3D5-5A934E2622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B894984-2F19-4FD0-A2B2-7753CF9B0F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C55DF5A0-34B4-4935-A238-2B02341C59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B0F98EC-02AE-4EFC-B297-D61927D4CE17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5D4363C-4247-4C97-A2E8-EEDEA5BAD3D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3F2C390-B27C-4BA8-9769-86C8DF8CC77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C614858-12DD-424F-B705-6E10F37905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EA5D4CF2-14CD-4514-A551-3E003BBB620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B3C5D731-7C66-44AC-99D9-388FC658D9C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1D7D4AE-C5E6-47F4-BC49-99EAF0390E46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Ô VŨ THĂ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00826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61031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BÍ THƯ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2CC289-F083-4263-87DC-3C6A1F75F1F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0273CD8-B401-48D9-8738-2CD91EA2C63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5D2D6FB-C9E9-4C87-9F6A-BE775DF553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D5A8B8F-DAD3-48C2-B7B9-D7F0AD4CD9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C2837380-93EC-49C8-81C5-9B2561C5F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5E21735-4121-4545-B2FB-37F7C1BF4B74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9369FD-3BCE-4CA2-9F15-E6225112539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18F433C-F357-43A7-99D8-9645D46DC533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43CF6B6-6C43-40C2-B0FE-2CEB95E9C3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711EDD1A-A833-4293-B4CC-A39DFF8508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9DFFF436-6B8E-4B88-AB05-960DBE9BA1A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C40D8DA-527E-4E8F-8C95-24D20FBD63B2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THÀNH NGẠ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069506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" b="37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CÔNG THƯƠNG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B68B2A-1A9E-41D0-94AB-9B21F8BFBB67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673A010-CF33-4DE6-B63A-E00DFAAA46C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B777F0D-E363-4397-8E91-207B48E69F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1A6717D-60AA-4AFF-B8A7-608271C485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FF3FBDF-B567-4B0B-BBCC-4CCF7ADD72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359DE5B-678A-40AB-A55D-6BF376779CE6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ACC5E3A-E6B4-47FE-83FE-9B7DA287422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9DFD6BF-42C6-48B0-99F0-90318CDD0FC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AFBC72A-80F4-4560-BA37-EA8A7BC17F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A66A99A5-2CEC-4045-8CD3-DB796A3CF1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E9B23F36-9442-43BB-842D-94DA820B7E9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48EB573-93C8-4C49-9F63-9A732EF8D47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CHÍ THIỆ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0486932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" b="305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MTTQ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HỘI NÔNG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666BDE1-7420-4032-96EA-030534EF59B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36771B4-87AD-4B40-AAC7-105BB7E64A5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4DC9ABC-C22B-44FD-87D7-682791EFD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44FC47FE-8415-45FA-B056-FC8D0C90D3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A771E7D-3728-4D71-992D-E0F0CD8F9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275CFFA-EFD8-4168-B7B4-005AAEA3710F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69CD846-4CC4-4125-828D-A92650D858D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825BF93-DE63-41D6-B363-999E3959737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5896E2F-02A4-412A-BD71-BC5BCFBC8C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9083424B-6FD1-4556-B1B8-723F7FB8AFA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CEED0259-4ADC-4CD2-B91B-79481AF6F05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6778F7A-3750-4286-B638-13C7865EEAE2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OÀNG THOẠ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4137328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8EE061A-0EF6-4770-8B6D-CC2B3AB0B47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F73F1CF-E53E-4983-8B80-87E13B3403EF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DE9CD8D-8285-4442-9C9A-B70EAB5F33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1914D3C-A330-4EB8-82DA-2862989EFE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C22BECBC-DBDD-42EA-8281-A9AA21103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0BC4182-32F7-4DAD-819F-130412EC1E38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741804E-ACB9-416E-857B-803BACBA229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70BE828-1FCE-4BBC-B473-7BEDCEEA7792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0FA9C68-91D4-4FED-95D3-4DFD66A60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729BA72D-AA78-43C8-9267-343AC62B3C0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245F3056-95DF-4A84-A468-E8AE3AE44C31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396E236-EB71-4333-8B69-2D72E34839B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AN HOÀNG VŨ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9027007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XÃ THỚI BÌNH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14D390-6874-41DC-A240-AA90B2121B8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E33B5E6-556E-465E-A764-EEC7036C1A0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4B72360-8D65-45C0-8826-FDC5759C52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C0A807F-421E-40CE-9975-3B15F61777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7C94466-AFE0-454F-A193-4CD9090AE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C80CB77-8C04-44BC-82B8-A8C0E790B2AB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6D16299-B18C-40BB-94B9-449F2D768B95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2B59629-33B5-44D2-AF51-0F5DF548B17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21CC97B-232A-4953-B811-766879ED9E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D7AC25E5-D599-4B98-8711-677DA65FDA6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71B016AD-150E-4707-ADB4-39CAE629750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E88680A-D3B5-4797-AE81-19EF5BDCA42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ẦN THỊ KIỀU YẾ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26600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36" name="txtChucVu">
            <a:extLst>
              <a:ext uri="{FF2B5EF4-FFF2-40B4-BE49-F238E27FC236}">
                <a16:creationId xmlns:a16="http://schemas.microsoft.com/office/drawing/2014/main" id="{AF1C6B50-501E-4B1B-A46B-65889C36D149}"/>
              </a:ext>
            </a:extLst>
          </p:cNvPr>
          <p:cNvSpPr txBox="1"/>
          <p:nvPr/>
        </p:nvSpPr>
        <p:spPr>
          <a:xfrm>
            <a:off x="4191000" y="3581400"/>
            <a:ext cx="7996066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HÍNH ỦY BỘ CHỈ HUY QUÂN SỰ TỈNH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1C0BC7F-7D79-46AB-89D2-C285B09B3E10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77EC903-0F4C-41FD-9624-EA91ECE6201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27" name="Picture 26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BBDEEA7-A654-4923-ABDA-4BD42B6933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28" name="Picture 27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693D2CC-5D4A-4E13-B355-93AE7B712F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53140D59-9587-4F4B-912A-0B9246BF9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8E952EE-35F4-4C68-8A04-32DBFB2A3B9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BD7D82A-5C3C-4438-BA17-E99DBA1C7E64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DF8EECA-D242-43CF-AE0C-8648729D8C65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0557527-8B10-4B38-9FFD-A46F157AA3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AD438C89-0366-4BAA-A85B-40CA659F2C0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B9B5B01D-79E7-48B7-9E8A-34432A53A5A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5D6B78D-5DF4-4A7B-A414-A59F5030C50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VÕ THÀNH LÊ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14831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XÃ HỒNG DÂ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9E69870-AAC8-40A0-9465-80AD5F7FA4F1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6F5EE6B-F04F-4520-8807-A7725B96B806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773831A-4DAB-46F2-A074-7CF139695D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0C9F0A5C-0965-4253-818E-2F89FFE2B5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2C60B14-D15E-4F03-9CD6-5CDB01D4B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E45CB35-823D-4485-9734-357C5D54FAF8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31407A-2167-4BAC-9075-441F3E49FA3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002CCA6-CA01-438E-B7A1-C64A594CEF36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DC27680-AF63-4EF2-A40C-5F746B9E13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06A82A44-6047-41FB-A762-905ED5CF66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07092216-4CC6-4DEC-B4C0-F3CB93BA952D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D988932-0C65-4AA5-8DAD-7AC46E4977D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À TẤN LI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5361758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3C74C321-7F4A-48AB-88E4-129B49016B45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XÃ SÔNG ĐỐC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7BDC894-329B-4AD4-BE8E-CD8031BA4D50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EF5B884-AF96-411A-8882-31404D7A668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D1A36A5-EA5D-4408-BB85-B278438C1C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1FBE31A-B19B-445F-9096-ECEC2FE9B2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0E2C6466-0D62-487D-A8C4-9EBC307ABD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DA076ED-8222-4798-BA4E-75B887A4C70D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6058AD7-30C2-4B36-8996-E498E196E1F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2172087-EA72-40D8-A4BF-413227CE719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3F98700A-F2CF-442C-A4B9-ED127D4E84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064E4EBF-4E53-411B-A005-7AF405E674A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48B8A91B-EFA2-412F-933A-F71AECD2FD94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EDC0142-2DFA-42AF-BE8F-BD9073EB7EAA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MÃ MINH TÂM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5372493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35" r="9435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6" name="txtChucVu">
            <a:extLst>
              <a:ext uri="{FF2B5EF4-FFF2-40B4-BE49-F238E27FC236}">
                <a16:creationId xmlns:a16="http://schemas.microsoft.com/office/drawing/2014/main" id="{F24D9B71-5523-4600-BCCA-B7460A39038F}"/>
              </a:ext>
            </a:extLst>
          </p:cNvPr>
          <p:cNvSpPr txBox="1"/>
          <p:nvPr/>
        </p:nvSpPr>
        <p:spPr>
          <a:xfrm>
            <a:off x="4191000" y="3581400"/>
            <a:ext cx="7996066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IÁM ĐỐC SỞ DÂN TỘC VÀ TÔN GIÁO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10800E9-B017-4CFF-AF46-F7979A56B93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5896301-3EC4-4601-B1F1-FE37672E632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29" name="Picture 28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4374B65-926B-4F4A-933B-0EF1DE3438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1" name="Picture 30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44E787D-7FA1-4D85-A35A-CB0EAA1774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7" name="Picture 26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6714F790-A1ED-4B74-8D2D-CB2B5D8014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8F4BA3C-D4FA-422F-8557-88B465A9BCA9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64BAC84-0973-49AA-A178-F61FE7A65AA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71C23CE-F3D2-4630-ACBD-AE99C11B6F6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BF77520-7812-4E1B-A98E-EBA15970C5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3" name="Light">
                <a:extLst>
                  <a:ext uri="{FF2B5EF4-FFF2-40B4-BE49-F238E27FC236}">
                    <a16:creationId xmlns:a16="http://schemas.microsoft.com/office/drawing/2014/main" id="{14938DF3-F600-4DC6-9265-C50ABC5B79F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4" name="Graphic 30">
                <a:extLst>
                  <a:ext uri="{FF2B5EF4-FFF2-40B4-BE49-F238E27FC236}">
                    <a16:creationId xmlns:a16="http://schemas.microsoft.com/office/drawing/2014/main" id="{DCD0FFF6-AEAD-4122-9DCD-F6548E7D8008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F81D931-AF0E-4F0D-B73A-DC517D054426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THU TƯ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8735840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1AABB53-6F1F-D363-CBC7-891F7BE1E3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F6FF6E99-54F2-E360-F94A-01E3BAC78AC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24" name="Picture 23" descr="A circular pattern with animals and symbols&#10;&#10;Description automatically generated">
            <a:extLst>
              <a:ext uri="{FF2B5EF4-FFF2-40B4-BE49-F238E27FC236}">
                <a16:creationId xmlns:a16="http://schemas.microsoft.com/office/drawing/2014/main" id="{99F1D3A9-5614-C504-5AB9-A565690339C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1" r="6184"/>
          <a:stretch/>
        </p:blipFill>
        <p:spPr>
          <a:xfrm>
            <a:off x="3170394" y="-1"/>
            <a:ext cx="9014208" cy="302697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6EE0B56-1C42-4E6C-8F6A-74B3CFB072BC}"/>
              </a:ext>
            </a:extLst>
          </p:cNvPr>
          <p:cNvGrpSpPr/>
          <p:nvPr/>
        </p:nvGrpSpPr>
        <p:grpSpPr>
          <a:xfrm>
            <a:off x="-83565" y="19318"/>
            <a:ext cx="5236317" cy="6819364"/>
            <a:chOff x="-83565" y="19318"/>
            <a:chExt cx="5236317" cy="6819364"/>
          </a:xfrm>
        </p:grpSpPr>
        <p:pic>
          <p:nvPicPr>
            <p:cNvPr id="18" name="picRemDo">
              <a:extLst>
                <a:ext uri="{FF2B5EF4-FFF2-40B4-BE49-F238E27FC236}">
                  <a16:creationId xmlns:a16="http://schemas.microsoft.com/office/drawing/2014/main" id="{DC0FA804-6AB9-424C-9DDB-A223617011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20" t="447" b="3607"/>
            <a:stretch/>
          </p:blipFill>
          <p:spPr>
            <a:xfrm>
              <a:off x="-83565" y="19318"/>
              <a:ext cx="5236317" cy="6819364"/>
            </a:xfrm>
            <a:prstGeom prst="rect">
              <a:avLst/>
            </a:prstGeom>
          </p:spPr>
        </p:pic>
        <p:pic>
          <p:nvPicPr>
            <p:cNvPr id="19" name="picBuaLiemVang">
              <a:extLst>
                <a:ext uri="{FF2B5EF4-FFF2-40B4-BE49-F238E27FC236}">
                  <a16:creationId xmlns:a16="http://schemas.microsoft.com/office/drawing/2014/main" id="{B4CAE77D-F330-4CFD-BB0F-309214B2BE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2285" y="450061"/>
              <a:ext cx="1219200" cy="1063425"/>
            </a:xfrm>
            <a:prstGeom prst="rect">
              <a:avLst/>
            </a:prstGeom>
          </p:spPr>
        </p:pic>
      </p:grpSp>
      <p:pic>
        <p:nvPicPr>
          <p:cNvPr id="11" name="Picture 10" descr="A red fabric in the air&#10;&#10;Description automatically generated">
            <a:extLst>
              <a:ext uri="{FF2B5EF4-FFF2-40B4-BE49-F238E27FC236}">
                <a16:creationId xmlns:a16="http://schemas.microsoft.com/office/drawing/2014/main" id="{04529FA5-036C-EB6E-554A-E8CC2256A4E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6" t="32500" b="43467"/>
          <a:stretch/>
        </p:blipFill>
        <p:spPr>
          <a:xfrm>
            <a:off x="0" y="5581651"/>
            <a:ext cx="5236317" cy="12763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F962D1A-5D3F-19C4-208B-C46B6633C4E4}"/>
              </a:ext>
            </a:extLst>
          </p:cNvPr>
          <p:cNvGrpSpPr/>
          <p:nvPr/>
        </p:nvGrpSpPr>
        <p:grpSpPr>
          <a:xfrm>
            <a:off x="9594593" y="646651"/>
            <a:ext cx="2193547" cy="878057"/>
            <a:chOff x="4762196" y="2546149"/>
            <a:chExt cx="4411048" cy="1765702"/>
          </a:xfrm>
        </p:grpSpPr>
        <p:pic>
          <p:nvPicPr>
            <p:cNvPr id="14" name="Picture 13" descr="A red flag with a yellow symbol&#10;&#10;Description automatically generated">
              <a:extLst>
                <a:ext uri="{FF2B5EF4-FFF2-40B4-BE49-F238E27FC236}">
                  <a16:creationId xmlns:a16="http://schemas.microsoft.com/office/drawing/2014/main" id="{D9E9A8F8-5070-0EB0-A108-898562D54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2196" y="2552500"/>
              <a:ext cx="2667608" cy="1752999"/>
            </a:xfrm>
            <a:prstGeom prst="rect">
              <a:avLst/>
            </a:prstGeom>
          </p:spPr>
        </p:pic>
        <p:pic>
          <p:nvPicPr>
            <p:cNvPr id="15" name="Picture 14" descr="A red flag with a yellow star&#10;&#10;Description automatically generated">
              <a:extLst>
                <a:ext uri="{FF2B5EF4-FFF2-40B4-BE49-F238E27FC236}">
                  <a16:creationId xmlns:a16="http://schemas.microsoft.com/office/drawing/2014/main" id="{CBD4484A-A8A4-360A-AC5E-30DE6F6F2E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5636" y="2546149"/>
              <a:ext cx="2667608" cy="1765702"/>
            </a:xfrm>
            <a:prstGeom prst="rect">
              <a:avLst/>
            </a:prstGeom>
          </p:spPr>
        </p:pic>
      </p:grpSp>
      <p:pic>
        <p:nvPicPr>
          <p:cNvPr id="12" name="Picture 11" descr="C:\Users\Duong\Downloads\png 3.png">
            <a:extLst>
              <a:ext uri="{FF2B5EF4-FFF2-40B4-BE49-F238E27FC236}">
                <a16:creationId xmlns:a16="http://schemas.microsoft.com/office/drawing/2014/main" id="{D2F0A4B8-716B-4921-9582-685F7A7A63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16" y="3124200"/>
            <a:ext cx="8856784" cy="369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5C6F867-1717-716A-A7CB-121BB6022D16}"/>
              </a:ext>
            </a:extLst>
          </p:cNvPr>
          <p:cNvSpPr txBox="1"/>
          <p:nvPr/>
        </p:nvSpPr>
        <p:spPr>
          <a:xfrm>
            <a:off x="3926501" y="2598025"/>
            <a:ext cx="7928774" cy="1816464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AN </a:t>
            </a:r>
            <a:r>
              <a:rPr kumimoji="0" lang="en-US" sz="70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THƯỜNG</a:t>
            </a:r>
            <a:r>
              <a:rPr kumimoji="0" lang="en-US" sz="7000" b="1" i="0" u="none" strike="noStrike" kern="1200" cap="none" spc="0" normalizeH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VỤ</a:t>
            </a:r>
          </a:p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NHIỆM</a:t>
            </a:r>
            <a:r>
              <a:rPr kumimoji="0" lang="en-US" sz="4500" b="1" i="0" u="none" strike="noStrike" kern="1200" cap="none" spc="0" normalizeH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KỲ 2025 - 2030</a:t>
            </a:r>
            <a:endParaRPr kumimoji="0" lang="vi-VN" sz="45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498753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3A36366-D0D5-476B-ABA3-6439BB7BE093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0602E51-41FC-2A25-EB2D-890B77DF73E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12" name="Picture 11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3245CEEE-862C-F85B-3EC7-3E2672FD3B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13" name="Picture 12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5F0C8B6-9791-2313-445B-42CF8FD99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2" name="Picture 31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C5CC16C9-DEE0-BB84-ADEF-FD2FE2F27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AD6F87A-6F49-4987-A3C7-F8B770235DDB}"/>
                </a:ext>
              </a:extLst>
            </p:cNvPr>
            <p:cNvSpPr txBox="1"/>
            <p:nvPr/>
          </p:nvSpPr>
          <p:spPr>
            <a:xfrm>
              <a:off x="3618403" y="494318"/>
              <a:ext cx="4955204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D582D33-79AA-412C-8899-3BBD60F0E91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608E6A7-BBF4-4FA5-9529-4DB4F2BD320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CAFA010-BCF7-4315-91D4-F63C09F6DF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0" name="Light">
                <a:extLst>
                  <a:ext uri="{FF2B5EF4-FFF2-40B4-BE49-F238E27FC236}">
                    <a16:creationId xmlns:a16="http://schemas.microsoft.com/office/drawing/2014/main" id="{2070B028-8D0B-4D4F-9DD2-A2B1C0CAD0A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1" name="Graphic 30">
                <a:extLst>
                  <a:ext uri="{FF2B5EF4-FFF2-40B4-BE49-F238E27FC236}">
                    <a16:creationId xmlns:a16="http://schemas.microsoft.com/office/drawing/2014/main" id="{324E1756-53A7-4D7D-BAD8-28438F9EFF6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5BA6B75-8A6C-40B6-AF09-CFEFADD0066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Ồ HẢI</a:t>
              </a:r>
            </a:p>
          </p:txBody>
        </p:sp>
      </p:grpSp>
      <p:sp>
        <p:nvSpPr>
          <p:cNvPr id="45" name="txtChucVu">
            <a:extLst>
              <a:ext uri="{FF2B5EF4-FFF2-40B4-BE49-F238E27FC236}">
                <a16:creationId xmlns:a16="http://schemas.microsoft.com/office/drawing/2014/main" id="{75BE8BA6-0602-4CA5-9133-AF7AF070C6B8}"/>
              </a:ext>
            </a:extLst>
          </p:cNvPr>
          <p:cNvSpPr txBox="1"/>
          <p:nvPr/>
        </p:nvSpPr>
        <p:spPr>
          <a:xfrm>
            <a:off x="4191000" y="3581400"/>
            <a:ext cx="7996066" cy="9050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b="1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BÍ THƯ TỈNH ỦY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2649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EF22EDF-1441-4BF8-BB54-BB6FE691AC4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156AFAE-2C96-4323-B2A1-28368FD1699A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5B5B5738-6DD7-4F02-95E4-50D68DD485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94216F2-EFF9-453A-8C7B-3923554CDF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6962FC67-0D6C-491E-85A3-D112D45B0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C6FF437-F3FF-4660-8F58-63DB8E80A24C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9CF0580-BF9F-40DA-8332-93FC16360A77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0B52C63-CEFC-4364-A4E8-19EFA19B1303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7B16BE4-927B-415C-874C-590E4C9A71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86B91556-5191-4747-9987-744AE55AE3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DA778247-51DB-488F-A760-FFBED1D4B15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81E7D3A-5880-458D-B26D-61AC5380DF2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THANH THỦY</a:t>
              </a:r>
            </a:p>
          </p:txBody>
        </p:sp>
      </p:grpSp>
      <p:sp>
        <p:nvSpPr>
          <p:cNvPr id="55" name="txtChucVu">
            <a:extLst>
              <a:ext uri="{FF2B5EF4-FFF2-40B4-BE49-F238E27FC236}">
                <a16:creationId xmlns:a16="http://schemas.microsoft.com/office/drawing/2014/main" id="{11B97F31-5C27-4A7F-8F28-85E5E64B8AE5}"/>
              </a:ext>
            </a:extLst>
          </p:cNvPr>
          <p:cNvSpPr txBox="1"/>
          <p:nvPr/>
        </p:nvSpPr>
        <p:spPr>
          <a:xfrm>
            <a:off x="4191000" y="3581400"/>
            <a:ext cx="7996066" cy="6206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00" b="1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Ó BÍ THƯ TỈNH ỦY</a:t>
            </a:r>
            <a:endParaRPr kumimoji="0" lang="zh-CN" altLang="en-US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19872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6103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b="1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DỰ KHUYẾT TRUNG ƯƠNG ĐẢNG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</a:t>
            </a:r>
            <a:r>
              <a:rPr lang="en-US" altLang="zh-CN" sz="2400" b="1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Ó BÍ THƯ THƯỜNG TRỰC TỈNH ỦY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</a:t>
            </a:r>
            <a:r>
              <a:rPr kumimoji="0" lang="en-US" altLang="zh-CN" sz="2400" b="1" i="0" u="none" strike="noStrike" kern="1200" cap="none" spc="-1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H</a:t>
            </a:r>
            <a:r>
              <a:rPr lang="en-US" altLang="zh-CN" sz="2400" b="1" spc="-100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 TỊCH ỦY BAN MẶT TRẬN TỔ QUỐC TỈNH</a:t>
            </a:r>
            <a:endParaRPr kumimoji="0" lang="zh-CN" altLang="en-US" sz="2400" b="1" i="0" u="none" strike="noStrike" kern="1200" cap="none" spc="-1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843EBD8-244F-4A16-9619-600C424290B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0EAD406-3320-4147-8582-D523352F154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F6E5186-061D-4850-B5C5-79B4FE26CE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0" name="Picture 39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A7B89AAF-1441-42B5-BB3B-39B8ACF29A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0" name="Picture 29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660F0312-2577-46E9-B1C4-FE7D9D4A914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5D32A96-99EF-4CDC-B8A3-7D3E9AEAF0FF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23F90EB-A730-497D-A9BC-3BAB3536B44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FE47D5E-7989-4C51-8935-4BC146956EC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F729774A-C637-4E7A-8BA7-6BE83C2EF3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9" name="Light">
                <a:extLst>
                  <a:ext uri="{FF2B5EF4-FFF2-40B4-BE49-F238E27FC236}">
                    <a16:creationId xmlns:a16="http://schemas.microsoft.com/office/drawing/2014/main" id="{7A1E8777-E814-4B92-8D7E-45216EE8EA0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60" name="Graphic 30">
                <a:extLst>
                  <a:ext uri="{FF2B5EF4-FFF2-40B4-BE49-F238E27FC236}">
                    <a16:creationId xmlns:a16="http://schemas.microsoft.com/office/drawing/2014/main" id="{6D734A4F-A775-435B-B5E0-B080192F848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BED2DBF-AC3B-444E-8BC9-2715423685E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QUỐC VIỆ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530748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61031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BÍ THƯ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7E83F31-CF76-4187-96E0-4B973F0991C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AA06FF4-0E76-4546-8B47-D8F0C0A808C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B833D814-D125-44A4-8793-843AA5240A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3A60780-615D-414B-AF1E-DCC726C439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0AE1E38-F3FA-4461-8367-2B331E7E3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F369FA-F8E1-46C3-B45F-2B7E0D17A8EC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C79FC55-6EE0-4B2A-8431-5DD1C0B9606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D8AA384-620A-46C8-BF28-6B1F07C84A0D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1ECB5AC3-DD4E-4D1F-80A7-C2BF629154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8" name="Light">
                <a:extLst>
                  <a:ext uri="{FF2B5EF4-FFF2-40B4-BE49-F238E27FC236}">
                    <a16:creationId xmlns:a16="http://schemas.microsoft.com/office/drawing/2014/main" id="{52D1B973-5927-441B-9A7A-C8920CE95F3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9" name="Graphic 30">
                <a:extLst>
                  <a:ext uri="{FF2B5EF4-FFF2-40B4-BE49-F238E27FC236}">
                    <a16:creationId xmlns:a16="http://schemas.microsoft.com/office/drawing/2014/main" id="{1F32F22A-31F8-4669-8988-AE62B353334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73CDB71-48C3-4C72-A976-A6785C10DEE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VĂN THIỀ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1613387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61031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BÍ THƯ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2CC289-F083-4263-87DC-3C6A1F75F1F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0273CD8-B401-48D9-8738-2CD91EA2C63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5D2D6FB-C9E9-4C87-9F6A-BE775DF553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D5A8B8F-DAD3-48C2-B7B9-D7F0AD4CD9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C2837380-93EC-49C8-81C5-9B2561C5F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5E21735-4121-4545-B2FB-37F7C1BF4B74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9369FD-3BCE-4CA2-9F15-E6225112539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18F433C-F357-43A7-99D8-9645D46DC533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43CF6B6-6C43-40C2-B0FE-2CEB95E9C3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711EDD1A-A833-4293-B4CC-A39DFF8508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9DFFF436-6B8E-4B88-AB05-960DBE9BA1A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C40D8DA-527E-4E8F-8C95-24D20FBD63B2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THÀNH NGẠ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4516049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EF22EDF-1441-4BF8-BB54-BB6FE691AC4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156AFAE-2C96-4323-B2A1-28368FD1699A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5B5B5738-6DD7-4F02-95E4-50D68DD485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94216F2-EFF9-453A-8C7B-3923554CDF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6962FC67-0D6C-491E-85A3-D112D45B0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C6FF437-F3FF-4660-8F58-63DB8E80A24C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9CF0580-BF9F-40DA-8332-93FC16360A77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0B52C63-CEFC-4364-A4E8-19EFA19B1303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7B16BE4-927B-415C-874C-590E4C9A71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86B91556-5191-4747-9987-744AE55AE3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DA778247-51DB-488F-A760-FFBED1D4B15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81E7D3A-5880-458D-B26D-61AC5380DF2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THANH THỦY</a:t>
              </a:r>
            </a:p>
          </p:txBody>
        </p:sp>
      </p:grpSp>
      <p:sp>
        <p:nvSpPr>
          <p:cNvPr id="55" name="txtChucVu">
            <a:extLst>
              <a:ext uri="{FF2B5EF4-FFF2-40B4-BE49-F238E27FC236}">
                <a16:creationId xmlns:a16="http://schemas.microsoft.com/office/drawing/2014/main" id="{11B97F31-5C27-4A7F-8F28-85E5E64B8AE5}"/>
              </a:ext>
            </a:extLst>
          </p:cNvPr>
          <p:cNvSpPr txBox="1"/>
          <p:nvPr/>
        </p:nvSpPr>
        <p:spPr>
          <a:xfrm>
            <a:off x="4191000" y="3581400"/>
            <a:ext cx="7996066" cy="6206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00" b="1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Ó BÍ THƯ TỈNH ỦY</a:t>
            </a:r>
            <a:endParaRPr kumimoji="0" lang="zh-CN" altLang="en-US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709792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 b="127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06A064F-4FE1-402D-BBA2-4D534EB8B4B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1964264-92F0-45C3-AE7E-61E3DDEBD6C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C7230BF-2A25-4062-9D32-2B298EE722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9574C333-001C-4ABF-812C-F56A271A2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1E04B96-EEE0-4C0D-A6FC-2D13929D25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DB3D279-84BE-4BFA-8C97-82735AB389B6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000646E-C835-48EC-AF92-90995AB8CAC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DE0CBE8E-72A2-4486-9652-57629DBE5E95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8922012A-D8A0-4681-8419-898EBD00D4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8" name="Light">
                <a:extLst>
                  <a:ext uri="{FF2B5EF4-FFF2-40B4-BE49-F238E27FC236}">
                    <a16:creationId xmlns:a16="http://schemas.microsoft.com/office/drawing/2014/main" id="{BCF23B30-7297-4DB9-B7D9-FF8F9F3C1DF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9" name="Graphic 30">
                <a:extLst>
                  <a:ext uri="{FF2B5EF4-FFF2-40B4-BE49-F238E27FC236}">
                    <a16:creationId xmlns:a16="http://schemas.microsoft.com/office/drawing/2014/main" id="{A95426E7-AEA5-4B05-AAE7-D338E57F5909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ADFB077-7531-47C1-B9D0-7D225E43176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BÙI TẤN BẢ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561344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F1100B0-D7D1-47AD-B0B2-3BB070890320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A247A84-1F08-42C1-BF17-83D1CEE438A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939B6C1-69ED-46AC-9F2C-4339C4EA4F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6681B9C-3A1C-4E57-8522-A305ACDDA2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4F6AC459-842B-4A20-8B09-2E765A2EA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629834B-5C4D-464A-B5A0-6149003F8165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9DFF325-E4E7-49D0-9DF5-C3190E06B45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4390FD7-98FE-4828-9B2E-B4971E33C4C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6D4767-053B-405D-AAC3-9C427CEC06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7652E3D-C989-4E79-BF6C-0D29A4E2C1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8AAA49D1-A2B2-4198-9858-E6C786D489D1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78857DE-A7FC-4436-8B8A-9B58825233B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ÂM VĂN B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6847424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NHIỆM ỦY BAN KIỂM TRA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512735-073D-4237-9F34-CA6B86C3390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7F3B38F-EED2-47AD-856A-771069A52E5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77873D1-611F-48B5-83E9-B3A876FFD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DD85C238-4D9B-4F66-AF16-E191584CA6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EC0ED426-8166-48A2-9ADD-0B853A27B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AD8DA92-331D-4024-9437-7553EEC992C2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1E098DD-92AC-4738-BBA3-62C4DC8FCC9A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E9164BE-20F4-462C-BE09-A9D553D38C76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E0285E9-6C76-4FEC-B552-548CF698B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4249FAB5-E31A-4450-8749-C2CDC5C0199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0E649106-ADD1-4818-9E39-BE1B93A0B72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2D8A7C1-3CF1-4B00-B67C-B295917A7CC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AN THANH DU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1447744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" r="518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84312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Ỉ HUY TRƯỞNG BCH QUÂN SỰ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29551A8-4ECC-47E4-ADE8-F36F773BDE5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473905-FDBE-4047-A6E5-B8C1FE7D80AB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5288C28-4ED1-4561-B004-F74698EDE0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EE766FE-446F-4550-8FA0-260DE97432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668B3F3-6A1F-45D7-A82B-151A08D70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AF1BC93-AE6E-413D-A6E4-3027E313D8A5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1C145A1-0922-4BED-AC32-325EAF4F575D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47FD3F6-4F24-4295-B960-A85EC52DAF3E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C2F635A-7DBA-40C5-8CBD-6FA7211557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E4A87915-A3AB-4B1E-AFE6-D70412B6A29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BC5B4B6C-15D6-4423-B82C-894F03AEBBA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E968B9C-2D30-4515-8D40-57531051756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VĂN HÙ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6446624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17" b="121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84312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, CHỦ TỊCH HĐND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PHƯỜNG TÂN THÀ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5804F9-A63E-4EAF-87FE-10BB7F43C4C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A5DABB2-F943-435A-AD43-A4DFD2A2B6F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065066E-1DB4-4991-A8DC-07017FC122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A41550BD-E23A-441E-833B-D35EF4676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CFDAA2A-41B5-447B-AB18-94076FD6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DF3BEEF-81D6-4DD2-8973-C921D928FB92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D535BCC-81B5-4A89-9878-8BD315B6BE1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EF35479-0BDC-4740-9551-E6D31DAAFD7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874271A-158A-455B-B14A-6F815E9197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5CBDA40-A40A-4500-B03F-66D3EF97BD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3FEBE833-1821-4269-B8F2-4FF507868CC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87AD1C4-BB99-4F93-8A06-17E7C2565AF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ƯƠNG ĐĂNG KHO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8993831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784312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E35DA8A-F98A-4F82-9781-AD79F2487AF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FE23A79-3F74-4AF1-8212-6EDEAF2AC8D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1669EAF1-976B-4505-8628-A854E89173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E25C9B8-B158-4FC1-8EF3-080EBB4AB0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E5CAB91-8CCA-4DDF-85F3-17C38793F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AEFE608-31FD-4E06-BDD4-6488A9E466C8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10B8517-BE57-40B8-B72B-43C5C415E94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7A499F9-339F-471F-A5EA-011F21E657D1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8C442A1-37AE-4782-83B3-1C26AD2702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12F09F4-A489-4D21-9414-F151C27AC6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FC0DC7C0-F9C9-46C3-AC79-8BAB076A95D4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02B9B24-6253-4973-B4BF-2D208ABB6F85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MINH LUÂ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052047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 b="127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06A064F-4FE1-402D-BBA2-4D534EB8B4BF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1964264-92F0-45C3-AE7E-61E3DDEBD6C7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C7230BF-2A25-4062-9D32-2B298EE722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9574C333-001C-4ABF-812C-F56A271A2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1E04B96-EEE0-4C0D-A6FC-2D13929D25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DB3D279-84BE-4BFA-8C97-82735AB389B6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000646E-C835-48EC-AF92-90995AB8CAC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DE0CBE8E-72A2-4486-9652-57629DBE5E95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8922012A-D8A0-4681-8419-898EBD00D4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8" name="Light">
                <a:extLst>
                  <a:ext uri="{FF2B5EF4-FFF2-40B4-BE49-F238E27FC236}">
                    <a16:creationId xmlns:a16="http://schemas.microsoft.com/office/drawing/2014/main" id="{BCF23B30-7297-4DB9-B7D9-FF8F9F3C1DF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9" name="Graphic 30">
                <a:extLst>
                  <a:ext uri="{FF2B5EF4-FFF2-40B4-BE49-F238E27FC236}">
                    <a16:creationId xmlns:a16="http://schemas.microsoft.com/office/drawing/2014/main" id="{A95426E7-AEA5-4B05-AAE7-D338E57F5909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ADFB077-7531-47C1-B9D0-7D225E43176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BÙI TẤN BẢ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4646771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HỘI ĐỒNG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BF554EC-6C58-4A12-A843-797E2EA8B65B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08460F2-FB30-4C6D-815F-A3D7DE7D526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CEA64DD5-E701-42FE-ABDD-D4BE0488B6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B52986B-C969-470A-ADD1-937D2EDE58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DC0645C-D716-48FF-8E8D-C44229B49B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E7E41F0-9934-439F-81B8-5D383EB21D8C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37F927D-E370-4E04-BF02-551C15EA331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A5530D3-DC8F-4D81-AA81-0E127FBF3E07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58DDEAF-1C11-4DC7-A8D0-CADCFB002D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D39D34E0-EA5B-4B3D-A000-EE32FAD27D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C4BAFC9D-DE0E-4F40-9CA2-6C45F666374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78435A1-0D2F-4D50-9294-CDC3B1C6038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Ị NHU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0363874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SỞ NỘI VỤ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5CF23A7-285A-449A-A147-64269870A78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E5167CB-5A8A-4C50-8444-4B5DA60D41B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ED845D3-0D64-4000-A340-4D5CA62B39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14EF5B6E-FB24-448D-90F1-221E240FAB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D2CE013B-F7AD-408C-A10D-7B4AA9163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0CD5F2B-CA4E-4B8D-95AF-ED92D2605448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40CAAEE-8551-49FA-ACBC-7BE0BCC86B8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4F169BE-DB3E-44F7-BC91-9CD9A800A78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FB0E07C-CD68-4982-8DED-12691477E2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A434D00E-4BA3-4DB8-904D-36C4DC40E2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72C006A7-CB7D-4327-9FE8-C530EF189E36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5F4EFDA-7098-4300-85AE-607A90E95F9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ẦN HỮU PHƯỚC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2543459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RƯỞNG BAN NỘI CHÍNH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50F311-C2EB-4122-BFAC-F6DC7F4A42D4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FBEA1E0-3460-4704-BE0D-A797E18AB01A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B9E0D4E-F3F0-4CC7-AE7F-5926551410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2715A51-E88C-4287-82CF-822939B20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CEE2117-B1F6-45CC-A8DD-1290E3CCBB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EC52A20-A410-4991-B9EE-F914AF2C50A4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BAB4613-9683-4177-82AE-A13E74090D9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5D99CA2-E74E-4917-AFE1-7363A5756D31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965E74E-DDE2-4BFF-AE7A-9B9C38D312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45DED6F1-DB1E-434E-A5F2-22505272861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2A35397D-7517-4E53-8930-313D8BFFCAA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4B1B78A-6570-4929-9C57-071AB0F7767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BÌNH TÂ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8701357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BÍ THƯ ĐẢNG ỦY PHƯỜNG BẠC LIÊU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ADC0853-0D6E-44FB-A17B-326F7DBB2CAB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9C0932D-DC76-480C-873E-12F8DE8155B2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A9E64F6-B5E8-4567-9D34-A2286AB37E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115A7AA-140D-4A6C-AEF8-E220AA1A5D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12AC4CA-BFA5-40BC-A333-07B4F182C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C4C8A44-9417-4F02-AB65-D0721017BED8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523C19-8923-42BB-A134-2A0BC2C36A20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5A15DAE-497C-410F-B497-E3939E1F3C9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73F069A2-3137-4575-930D-0215110EFD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B80C5DD1-C005-47F7-B70A-4A3FAAA2192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302E6836-51BD-4BF1-9D9D-374AD7370C91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20644CB-063C-4BB6-985F-467929B2A66D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Ô VIỆT TH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8174083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838498A-994C-4978-9FA4-AD37A604DAD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826F76D-E0B8-4DE8-ADFE-C7A6CE58BC1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2120687-2F6D-4790-ABD0-CD22EFF417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33D10DF-8E9B-46B9-9937-1E3974E10C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B82F9BC-E1F6-443B-B8A2-99D0A9CD1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2DD6A08-6013-457D-BC04-8A08D2C11C84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3E1F9F5-DD3C-4D2D-A1C0-B51D82BF233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A24450F-4D5B-42E8-B4B4-5600B7C5A9A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02AE8E3-905C-48BE-9B9C-C0054734A5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672E8B5-218A-4DFE-96B9-8A079F3DDB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ADEEA1D6-0BC1-46F2-8DC3-D97AC1F71F45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EF07778-EA8D-465D-8491-AB02A4935FCF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HỮU TRÍ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2604831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</a:t>
            </a: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HỦ TỊCH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HƯỜNG TRỰC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2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BAN </a:t>
            </a:r>
            <a:r>
              <a:rPr lang="en-US" altLang="zh-CN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MẶT TRẬN TỔ QUỐC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C30B90F-EEAE-4F35-BDD5-ACBCF519CD4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D9726A4-A96C-4F0F-865C-7C80FBC5077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312EB3D2-E00C-40FA-AABD-C2C7C45D02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084769A-135A-4A27-8390-C59666D71F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DC336AA1-FF79-4B36-AF14-E28633E59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CA63D02-7716-4098-B6C0-A29805C551A5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2230058-F8F3-4DB8-A374-A32395BC167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32D99E1-8FAC-4204-A8B0-276E61CA7FC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4216548-5DDC-43EE-A566-E47E9B0AAA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54D2B211-2FB2-45DD-BE18-05CAAAD49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0E5C3C92-AD77-4CEE-86B3-EC1372796B5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71C307C-1D34-4A08-B80E-DC54D0AC303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Ê THANH TRIỀ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4150984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6" r="2926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GIÁM ĐỐC CÔNG A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FD1FE46-713B-414F-827B-357B4493DD20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28B9DC2-9000-48BD-B851-AE59A5ACF5B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0BA95A0-05FF-4890-AB71-A5EFDC1B79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959F0083-2D4E-4D6D-A81A-C26FE20CF5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7336D2A-ECE3-49EA-9F27-4F6BFD5AA2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F78BD92-DC89-4011-87DA-F0B47C9FE3AD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1A75CA8-A40D-41CB-8F6B-54D0F14AF9BB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3FFED3B3-D79D-4FBC-8B48-24A438880E1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48FA7C1-6D10-4B13-91AE-6C6E0B5552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B623441F-75C4-4D63-B866-51C55399F77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3B2FC85C-CEF3-4F3E-89BA-D39E51FA8263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64916C4-5CB5-468C-A8FF-6BFFA5E4BF3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VIỆT TRIỀU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8101328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RƯỞNG BAN TUYÊN GIÁO VÀ DÂN VẬN</a:t>
            </a:r>
          </a:p>
          <a:p>
            <a:pPr>
              <a:lnSpc>
                <a:spcPct val="150000"/>
              </a:lnSpc>
              <a:defRPr/>
            </a:pPr>
            <a:r>
              <a:rPr lang="zh-CN" altLang="en-US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zh-CN" altLang="en-US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388ABFB-991A-42FF-A08C-04D4388BE457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FF01BF2-3E20-47E3-96D7-D88BC0A69250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E5A6B80-C0EA-402E-8F6B-42E728216F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D10B222-4E78-4D25-9B62-4B15301ED5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9F1094C-591E-4B83-AEAE-1C356F01B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5D6AC67-5B0E-4085-ADDA-715B42A6E0AB}"/>
                </a:ext>
              </a:extLst>
            </p:cNvPr>
            <p:cNvSpPr txBox="1"/>
            <p:nvPr/>
          </p:nvSpPr>
          <p:spPr>
            <a:xfrm>
              <a:off x="3618399" y="494318"/>
              <a:ext cx="4955203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THƯỜNG VỤ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9356164-363D-41A7-8584-927CC1D21889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F3F8B96-D3DC-4BF2-A8F9-31DE27B9958B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3D3A5BAD-2FF5-4BC2-AF99-89AE7BB3C5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1C8D2081-49E0-4ACE-AD71-8D1479FD76B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D1307AA3-E106-433C-8E11-2615719BB54B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533C1B2-38FB-4600-9AAF-19176F5E16C7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Ồ TRUNG VIỆ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9700914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CADE8DC9-4906-5C47-370C-071A65461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24" name="Picture 23" descr="A circular pattern with animals and symbols&#10;&#10;Description automatically generated">
            <a:extLst>
              <a:ext uri="{FF2B5EF4-FFF2-40B4-BE49-F238E27FC236}">
                <a16:creationId xmlns:a16="http://schemas.microsoft.com/office/drawing/2014/main" id="{64A45422-4132-5F2C-5740-B9971ABD9B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1" r="6184"/>
          <a:stretch/>
        </p:blipFill>
        <p:spPr>
          <a:xfrm>
            <a:off x="3170394" y="-1"/>
            <a:ext cx="9014208" cy="302697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990E22B-B33F-4AAB-BAA4-26B8215846AD}"/>
              </a:ext>
            </a:extLst>
          </p:cNvPr>
          <p:cNvGrpSpPr/>
          <p:nvPr/>
        </p:nvGrpSpPr>
        <p:grpSpPr>
          <a:xfrm>
            <a:off x="-83565" y="19318"/>
            <a:ext cx="5236317" cy="6819364"/>
            <a:chOff x="-83565" y="19318"/>
            <a:chExt cx="5236317" cy="6819364"/>
          </a:xfrm>
        </p:grpSpPr>
        <p:pic>
          <p:nvPicPr>
            <p:cNvPr id="17" name="picRemDo">
              <a:extLst>
                <a:ext uri="{FF2B5EF4-FFF2-40B4-BE49-F238E27FC236}">
                  <a16:creationId xmlns:a16="http://schemas.microsoft.com/office/drawing/2014/main" id="{50D5481A-3E26-44AD-AF85-193BE2FF6F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20" t="447" b="3607"/>
            <a:stretch/>
          </p:blipFill>
          <p:spPr>
            <a:xfrm>
              <a:off x="-83565" y="19318"/>
              <a:ext cx="5236317" cy="6819364"/>
            </a:xfrm>
            <a:prstGeom prst="rect">
              <a:avLst/>
            </a:prstGeom>
          </p:spPr>
        </p:pic>
        <p:pic>
          <p:nvPicPr>
            <p:cNvPr id="18" name="picBuaLiemVang">
              <a:extLst>
                <a:ext uri="{FF2B5EF4-FFF2-40B4-BE49-F238E27FC236}">
                  <a16:creationId xmlns:a16="http://schemas.microsoft.com/office/drawing/2014/main" id="{79E752E7-265A-4C19-90D8-15F5F8A11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2285" y="450061"/>
              <a:ext cx="1219200" cy="1063425"/>
            </a:xfrm>
            <a:prstGeom prst="rect">
              <a:avLst/>
            </a:prstGeom>
          </p:spPr>
        </p:pic>
      </p:grpSp>
      <p:pic>
        <p:nvPicPr>
          <p:cNvPr id="11" name="Picture 10" descr="A red fabric in the air&#10;&#10;Description automatically generated">
            <a:extLst>
              <a:ext uri="{FF2B5EF4-FFF2-40B4-BE49-F238E27FC236}">
                <a16:creationId xmlns:a16="http://schemas.microsoft.com/office/drawing/2014/main" id="{AE70BDFF-E0D9-CB1C-2EEB-A180A5B147F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6" t="32500" b="43467"/>
          <a:stretch/>
        </p:blipFill>
        <p:spPr>
          <a:xfrm>
            <a:off x="0" y="5581651"/>
            <a:ext cx="5236317" cy="12763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C:\Users\Duong\Downloads\png 3.png">
            <a:extLst>
              <a:ext uri="{FF2B5EF4-FFF2-40B4-BE49-F238E27FC236}">
                <a16:creationId xmlns:a16="http://schemas.microsoft.com/office/drawing/2014/main" id="{23D69416-17F0-4B75-BD86-166F26006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16" y="3124200"/>
            <a:ext cx="8856784" cy="369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15D7EEE-73D9-478B-9C31-8A1FD7BB0E0C}"/>
              </a:ext>
            </a:extLst>
          </p:cNvPr>
          <p:cNvGrpSpPr/>
          <p:nvPr/>
        </p:nvGrpSpPr>
        <p:grpSpPr>
          <a:xfrm>
            <a:off x="8645914" y="333577"/>
            <a:ext cx="3393686" cy="1450329"/>
            <a:chOff x="6473065" y="776111"/>
            <a:chExt cx="3393686" cy="1450329"/>
          </a:xfrm>
        </p:grpSpPr>
        <p:pic>
          <p:nvPicPr>
            <p:cNvPr id="19" name="Picture 18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75D94C-7170-4D1F-A3B9-2E90CCEF3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5087" y="776111"/>
              <a:ext cx="1469630" cy="1050219"/>
            </a:xfrm>
            <a:prstGeom prst="rect">
              <a:avLst/>
            </a:prstGeom>
          </p:spPr>
        </p:pic>
        <p:sp>
          <p:nvSpPr>
            <p:cNvPr id="21" name="Text">
              <a:extLst>
                <a:ext uri="{FF2B5EF4-FFF2-40B4-BE49-F238E27FC236}">
                  <a16:creationId xmlns:a16="http://schemas.microsoft.com/office/drawing/2014/main" id="{53484B1A-D131-434B-8969-A6A9FD3001E7}"/>
                </a:ext>
              </a:extLst>
            </p:cNvPr>
            <p:cNvSpPr txBox="1"/>
            <p:nvPr/>
          </p:nvSpPr>
          <p:spPr>
            <a:xfrm>
              <a:off x="6473065" y="1826330"/>
              <a:ext cx="3393686" cy="400110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1200" cap="none" spc="94" normalizeH="0" baseline="0" noProof="0">
                  <a:ln>
                    <a:noFill/>
                  </a:ln>
                  <a:solidFill>
                    <a:srgbClr val="EB1C24"/>
                  </a:solidFill>
                  <a:effectLst/>
                  <a:uLnTx/>
                  <a:uFillTx/>
                  <a:latin typeface="Arial" panose="020B0604020202020204" pitchFamily="34" charset="0"/>
                  <a:ea typeface="MiSans Heavy" panose="00000A00000000000000" charset="-122"/>
                  <a:cs typeface="Arial" panose="020B0604020202020204" pitchFamily="34" charset="0"/>
                </a:rPr>
                <a:t>ĐẢNG BỘ TỈNH</a:t>
              </a:r>
              <a:r>
                <a:rPr kumimoji="0" lang="en-US" altLang="zh-CN" sz="2000" b="1" i="0" u="none" strike="noStrike" kern="1200" cap="none" spc="94" normalizeH="0" noProof="0">
                  <a:ln>
                    <a:noFill/>
                  </a:ln>
                  <a:solidFill>
                    <a:srgbClr val="EB1C24"/>
                  </a:solidFill>
                  <a:effectLst/>
                  <a:uLnTx/>
                  <a:uFillTx/>
                  <a:latin typeface="Arial" panose="020B0604020202020204" pitchFamily="34" charset="0"/>
                  <a:ea typeface="MiSans Heavy" panose="00000A00000000000000" charset="-122"/>
                  <a:cs typeface="Arial" panose="020B0604020202020204" pitchFamily="34" charset="0"/>
                </a:rPr>
                <a:t> CÀ MAU</a:t>
              </a:r>
              <a:endParaRPr kumimoji="0" lang="zh-CN" altLang="en-US" sz="2000" b="1" i="0" u="none" strike="noStrike" kern="1200" cap="none" spc="94" normalizeH="0" baseline="0" noProof="0">
                <a:ln>
                  <a:noFill/>
                </a:ln>
                <a:solidFill>
                  <a:srgbClr val="EB1C24"/>
                </a:solidFill>
                <a:effectLst/>
                <a:uLnTx/>
                <a:uFillTx/>
                <a:latin typeface="Arial" panose="020B0604020202020204" pitchFamily="34" charset="0"/>
                <a:ea typeface="MiSans Heavy" panose="00000A00000000000000" charset="-122"/>
                <a:cs typeface="Arial" panose="020B0604020202020204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D19012DB-B930-4207-8C7B-E02F99EFD247}"/>
              </a:ext>
            </a:extLst>
          </p:cNvPr>
          <p:cNvSpPr txBox="1"/>
          <p:nvPr/>
        </p:nvSpPr>
        <p:spPr>
          <a:xfrm>
            <a:off x="3276600" y="2743200"/>
            <a:ext cx="8361583" cy="1812745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ĐẠI HỘI LẦN THỨ I</a:t>
            </a:r>
            <a:endParaRPr kumimoji="0" lang="en-US" sz="70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NHIỆM</a:t>
            </a:r>
            <a:r>
              <a:rPr kumimoji="0" lang="en-US" sz="4200" b="1" i="0" u="none" strike="noStrike" kern="1200" cap="none" spc="0" normalizeH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US" sz="4200" b="1" i="0" u="none" strike="noStrike" kern="1200" cap="none" spc="0" normalizeH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KỲ 2025 - 2030</a:t>
            </a:r>
            <a:endParaRPr kumimoji="0" lang="vi-VN" sz="42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903220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CADE8DC9-4906-5C47-370C-071A65461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24" name="Picture 23" descr="A circular pattern with animals and symbols&#10;&#10;Description automatically generated">
            <a:extLst>
              <a:ext uri="{FF2B5EF4-FFF2-40B4-BE49-F238E27FC236}">
                <a16:creationId xmlns:a16="http://schemas.microsoft.com/office/drawing/2014/main" id="{64A45422-4132-5F2C-5740-B9971ABD9B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1" r="6184"/>
          <a:stretch/>
        </p:blipFill>
        <p:spPr>
          <a:xfrm>
            <a:off x="3170394" y="-1"/>
            <a:ext cx="9014208" cy="302697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419EDCC-73A5-4D04-A42A-C5E73C24A4F1}"/>
              </a:ext>
            </a:extLst>
          </p:cNvPr>
          <p:cNvGrpSpPr/>
          <p:nvPr/>
        </p:nvGrpSpPr>
        <p:grpSpPr>
          <a:xfrm>
            <a:off x="-83565" y="19318"/>
            <a:ext cx="5236317" cy="6819364"/>
            <a:chOff x="-83565" y="19318"/>
            <a:chExt cx="5236317" cy="6819364"/>
          </a:xfrm>
        </p:grpSpPr>
        <p:pic>
          <p:nvPicPr>
            <p:cNvPr id="17" name="picRemDo">
              <a:extLst>
                <a:ext uri="{FF2B5EF4-FFF2-40B4-BE49-F238E27FC236}">
                  <a16:creationId xmlns:a16="http://schemas.microsoft.com/office/drawing/2014/main" id="{51F8B9C7-6FB6-4045-B50F-60122EC3FC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20" t="447" b="3607"/>
            <a:stretch/>
          </p:blipFill>
          <p:spPr>
            <a:xfrm>
              <a:off x="-83565" y="19318"/>
              <a:ext cx="5236317" cy="6819364"/>
            </a:xfrm>
            <a:prstGeom prst="rect">
              <a:avLst/>
            </a:prstGeom>
          </p:spPr>
        </p:pic>
        <p:pic>
          <p:nvPicPr>
            <p:cNvPr id="18" name="picBuaLiemVang">
              <a:extLst>
                <a:ext uri="{FF2B5EF4-FFF2-40B4-BE49-F238E27FC236}">
                  <a16:creationId xmlns:a16="http://schemas.microsoft.com/office/drawing/2014/main" id="{6906AD6E-BEAD-48DD-8988-C5FDD30D5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2285" y="450061"/>
              <a:ext cx="1219200" cy="1063425"/>
            </a:xfrm>
            <a:prstGeom prst="rect">
              <a:avLst/>
            </a:prstGeom>
          </p:spPr>
        </p:pic>
      </p:grpSp>
      <p:pic>
        <p:nvPicPr>
          <p:cNvPr id="11" name="Picture 10" descr="A red fabric in the air&#10;&#10;Description automatically generated">
            <a:extLst>
              <a:ext uri="{FF2B5EF4-FFF2-40B4-BE49-F238E27FC236}">
                <a16:creationId xmlns:a16="http://schemas.microsoft.com/office/drawing/2014/main" id="{AE70BDFF-E0D9-CB1C-2EEB-A180A5B147F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6" t="32500" b="43467"/>
          <a:stretch/>
        </p:blipFill>
        <p:spPr>
          <a:xfrm>
            <a:off x="0" y="5581651"/>
            <a:ext cx="5236317" cy="12763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A2B8528-A868-029D-A7FA-582D6D707C74}"/>
              </a:ext>
            </a:extLst>
          </p:cNvPr>
          <p:cNvGrpSpPr/>
          <p:nvPr/>
        </p:nvGrpSpPr>
        <p:grpSpPr>
          <a:xfrm>
            <a:off x="9594593" y="646651"/>
            <a:ext cx="2193547" cy="878057"/>
            <a:chOff x="4762196" y="2546149"/>
            <a:chExt cx="4411048" cy="1765702"/>
          </a:xfrm>
        </p:grpSpPr>
        <p:pic>
          <p:nvPicPr>
            <p:cNvPr id="14" name="Picture 13" descr="A red flag with a yellow symbol&#10;&#10;Description automatically generated">
              <a:extLst>
                <a:ext uri="{FF2B5EF4-FFF2-40B4-BE49-F238E27FC236}">
                  <a16:creationId xmlns:a16="http://schemas.microsoft.com/office/drawing/2014/main" id="{6DF0E4FE-475C-6508-7223-2CADAAA9F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2196" y="2552500"/>
              <a:ext cx="2667608" cy="1752999"/>
            </a:xfrm>
            <a:prstGeom prst="rect">
              <a:avLst/>
            </a:prstGeom>
          </p:spPr>
        </p:pic>
        <p:pic>
          <p:nvPicPr>
            <p:cNvPr id="15" name="Picture 14" descr="A red flag with a yellow star&#10;&#10;Description automatically generated">
              <a:extLst>
                <a:ext uri="{FF2B5EF4-FFF2-40B4-BE49-F238E27FC236}">
                  <a16:creationId xmlns:a16="http://schemas.microsoft.com/office/drawing/2014/main" id="{575A1461-B7D6-2FB3-42E7-63DAB2DD5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5636" y="2546149"/>
              <a:ext cx="2667608" cy="1765702"/>
            </a:xfrm>
            <a:prstGeom prst="rect">
              <a:avLst/>
            </a:prstGeom>
          </p:spPr>
        </p:pic>
      </p:grpSp>
      <p:pic>
        <p:nvPicPr>
          <p:cNvPr id="19" name="Picture 18" descr="C:\Users\Duong\Downloads\png 3.png">
            <a:extLst>
              <a:ext uri="{FF2B5EF4-FFF2-40B4-BE49-F238E27FC236}">
                <a16:creationId xmlns:a16="http://schemas.microsoft.com/office/drawing/2014/main" id="{BCC05A5D-1BA4-4CAD-B040-782E0CB96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16" y="3124200"/>
            <a:ext cx="8856784" cy="369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9796B06-D7B1-EE77-8A3F-CD581B199A9A}"/>
              </a:ext>
            </a:extLst>
          </p:cNvPr>
          <p:cNvSpPr txBox="1"/>
          <p:nvPr/>
        </p:nvSpPr>
        <p:spPr>
          <a:xfrm>
            <a:off x="4008864" y="2598025"/>
            <a:ext cx="7802136" cy="924554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500" b="1" noProof="0"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ỦY BAN KIỂM TRA</a:t>
            </a:r>
            <a:endParaRPr kumimoji="0" lang="en-US" sz="65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5F4A40-C112-4143-A11A-92A1747ADAF8}"/>
              </a:ext>
            </a:extLst>
          </p:cNvPr>
          <p:cNvSpPr txBox="1"/>
          <p:nvPr/>
        </p:nvSpPr>
        <p:spPr>
          <a:xfrm>
            <a:off x="7488182" y="3485712"/>
            <a:ext cx="4105611" cy="588372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sz="3100" b="1" spc="-100"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NHIỆM KỲ 2025 - 2030</a:t>
            </a:r>
            <a:endParaRPr lang="vi-VN" sz="3100" b="1" spc="-100" dirty="0"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7595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F1100B0-D7D1-47AD-B0B2-3BB070890320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A247A84-1F08-42C1-BF17-83D1CEE438A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939B6C1-69ED-46AC-9F2C-4339C4EA4F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6681B9C-3A1C-4E57-8522-A305ACDDA2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4F6AC459-842B-4A20-8B09-2E765A2EA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629834B-5C4D-464A-B5A0-6149003F8165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9DFF325-E4E7-49D0-9DF5-C3190E06B45E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4390FD7-98FE-4828-9B2E-B4971E33C4CC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6D4767-053B-405D-AAC3-9C427CEC06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37652E3D-C989-4E79-BF6C-0D29A4E2C1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8AAA49D1-A2B2-4198-9858-E6C786D489D1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78857DE-A7FC-4436-8B8A-9B58825233B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LÂM VĂN B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7285367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143163F2-F09D-4331-B5AE-018E70896E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CD4BDAC7-EDCC-46B6-8B46-8E8711139337}"/>
              </a:ext>
            </a:extLst>
          </p:cNvPr>
          <p:cNvSpPr txBox="1"/>
          <p:nvPr/>
        </p:nvSpPr>
        <p:spPr>
          <a:xfrm>
            <a:off x="5257800" y="3581400"/>
            <a:ext cx="6859693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2B0A28-3CA8-4757-AA5F-F089FF4BC3C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6F35ECC-52C3-49D9-BFAB-4B7B4354062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4C609BD-C45D-454A-B698-9226A5D045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2B04D99-08C6-4EBB-AD0C-1C01AC7259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F6532FB-B899-4684-A0F9-E1BE6A6E80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9DCA74A-EDFE-4549-8C9C-BCBB6B1548F8}"/>
                </a:ext>
              </a:extLst>
            </p:cNvPr>
            <p:cNvSpPr txBox="1"/>
            <p:nvPr/>
          </p:nvSpPr>
          <p:spPr>
            <a:xfrm>
              <a:off x="3531840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B7FB07B-8A8A-468A-AD14-605E0220A1D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BE06D6-DCA4-4147-B39C-AF5C2EE7451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9D659F9-F03A-406E-A8E2-A914048F20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2BE6CDD0-7B1C-44C6-99D9-D5E6822708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28EC31F2-1A47-4423-A665-5ED55C77E0C2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7AD9C74-A922-4B8B-9B9A-4C0E31677C0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HỮU TRÍ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0242142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7D381039-895B-4431-8A3B-37F5195BF1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ACE0EC38-855E-4BA3-B593-F8FC7282594C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NHIỆM THƯỜNG TRỰC</a:t>
            </a:r>
          </a:p>
          <a:p>
            <a:pPr>
              <a:lnSpc>
                <a:spcPct val="150000"/>
              </a:lnSpc>
              <a:defRPr/>
            </a:pPr>
            <a:r>
              <a:rPr lang="zh-CN" altLang="en-US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zh-CN" altLang="en-US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988E1A2-B52E-490E-897A-5668D76D462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88BBD23-3DD5-4CA1-98AD-D21B78186EF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51CD82D-0690-4E50-9029-BF1B033A37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C9B518A-6A1A-4E00-8FDF-43DF826500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8AA1E85-FA29-4EC3-AFF2-0F808A4CB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6A418A5-417C-4A79-81B7-FB85E7131B3D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81DB290-10E7-4402-A571-3E9FB529742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D82475E7-32F5-4BA7-9AEF-5334E92A222B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D8FAD9B-7BB7-4E54-AE55-2CA4C69D8E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897502F4-43A2-4C62-BA46-6287549CA6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D97F67CD-4447-4A6C-8760-B3C11962118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0D174D3-BDA9-464C-9B09-B041EF23C74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MINH NHỨ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3035517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 PHÓ CHỦ NHIỆM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5B442D65-670A-492D-8081-5AC7BC4D18C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FB51B01-79FD-4181-B91F-E1FAACF6A39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AB39525-FFFA-4FD4-A261-D3CA513EDA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6BE4120-CE65-4FB2-8559-382F97336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67D0981-7F57-4853-9AB7-25D7A467F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C445779-8D4E-44C1-84D1-61B878CB2EC5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72DBE76-01FF-4F16-B38E-57EADA32877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8D908C0-71C5-473C-898D-975EF9B641F9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763F2E6-B60F-47D6-9903-34E6895E4A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5C8DB551-5B8D-4302-A0DB-3CE7C21C37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D914A588-2AAA-408F-88FC-E6D8CDF9876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33273EA-7F55-4923-A14E-92B3069419C1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THANH CHỜ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0766956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5" name="txtChucVu">
            <a:extLst>
              <a:ext uri="{FF2B5EF4-FFF2-40B4-BE49-F238E27FC236}">
                <a16:creationId xmlns:a16="http://schemas.microsoft.com/office/drawing/2014/main" id="{035B90E1-1C6E-4631-9A31-D31EE5500EE8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 PHÓ CHỦ NHIỆM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2E99F7B-F6CF-46E5-9A9E-FDB7D4ECC0B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7258CA1-3BB0-42D5-9CB2-A875AFCEFD3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83B0C25-B92A-4D89-B87C-86920CED26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4A4E255-68EB-4847-A9CC-B820EE73B0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09E78213-D83D-45E1-885E-5C1824EE1A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27302EF-DE46-4F5A-BDB7-DCD774042578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2E256B0-8B0A-4E21-AC1E-4F10C80AAFD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16F10DE-041D-4632-BA20-40D1E7DDFCA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6A8CA0-F5FB-4F3E-8FED-30E9082503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816C9835-FBB1-4432-A590-E5CF509BB5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995DD7D0-D507-4316-89F7-5E3ABDCCB50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E9AA3E7-7FC3-47B3-A1C1-1BDDE5434CD6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Ừ CÔNG THÀ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3734209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xtChucVu">
            <a:extLst>
              <a:ext uri="{FF2B5EF4-FFF2-40B4-BE49-F238E27FC236}">
                <a16:creationId xmlns:a16="http://schemas.microsoft.com/office/drawing/2014/main" id="{88D6CEBE-10E6-4D6D-BC46-995086E98886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 PHÓ CHỦ NHIỆM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362F3D-B5FC-404D-8C13-82245A87CB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965A502-6D0C-481C-B0B0-8267CC6D4AF1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C4782D0-5329-45E0-AB7E-74F5258C1E8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29" name="Picture 28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44032978-D6B5-47EF-A28E-48D04C2FFF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1" name="Picture 30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A62AB35E-1ED1-44C5-BDCF-3CAAC8C905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7" name="Picture 26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8AD163B-811B-4A96-B469-49D712F8EF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5246831-CB02-4051-A856-6D59C9CFF4CC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E7F9F4E-1D10-4259-871E-E9D20E32A522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432D3E06-BB22-481E-8EDE-D0EA730BBC02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DBC8313-10E9-451F-99A6-256AF0D378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3" name="Light">
                <a:extLst>
                  <a:ext uri="{FF2B5EF4-FFF2-40B4-BE49-F238E27FC236}">
                    <a16:creationId xmlns:a16="http://schemas.microsoft.com/office/drawing/2014/main" id="{8E3F48E8-130F-4627-9FC0-FCF8BDDB952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4" name="Graphic 30">
                <a:extLst>
                  <a:ext uri="{FF2B5EF4-FFF2-40B4-BE49-F238E27FC236}">
                    <a16:creationId xmlns:a16="http://schemas.microsoft.com/office/drawing/2014/main" id="{CFA31065-BA92-4C41-9749-9E2B93A3C60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11A55D8-8737-4FD5-ACFE-89271625DF0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AN TRỌNG NGHĨ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8194085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4" b="43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080BEFC-33FC-4CAB-A405-AACD1FB1450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6844895-F1AF-4DF7-B4E0-99D22DE80B81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3D9F5CF-69DF-4124-A7D0-76A3A44A88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A52E410C-95A0-42D0-951A-D4D330BD80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B3245CA8-823E-4316-9FD9-A45B74F8F9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5F9EB98-09F5-4C42-8B3B-FAA480C9F50F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E63AAD1-4D72-4B48-8967-7CCD5338530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12E5D66-5C4B-4F72-AA04-956732F6473F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200782D-BBCD-4CEA-B5E3-0DD70F96EB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02CA0242-9F77-4A5D-B364-D91484160A8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CE71D63B-E21F-47CF-B6AE-33DC2829DABA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01A54AD-DC4A-4112-8916-5AD11F6BDC6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MAI HẢI DƯƠ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7965035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21AA82FB-F613-4548-97EE-93BF3AA5D138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380B2DD-1FD9-44B5-86F6-3D6AC7794F59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0AB45ED-5E7B-46A5-B3D3-F9866152F2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49E7D12-4229-465D-B47F-E1687D813B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5F04DB63-410D-4C34-96A3-C8DE7775D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E42C501-CEAB-43D1-9904-388F76B09D6F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txtChucVu">
            <a:extLst>
              <a:ext uri="{FF2B5EF4-FFF2-40B4-BE49-F238E27FC236}">
                <a16:creationId xmlns:a16="http://schemas.microsoft.com/office/drawing/2014/main" id="{2357E757-C3AB-4392-85F4-B95A0F40A8C3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452ED5B-0D83-4BBC-8E9D-08B998FD8F2D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60A7A44-176F-4029-A07C-A06101305A0A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23BEDDE-2233-44F8-B310-4BCC572745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436E44C2-A049-4823-93F4-33680700AA0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D3F77F77-E0FB-461C-922D-62DA6355B816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6F35B3-E7B1-4869-AE0D-FEE8FBE269A1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MỸ HÝ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8068707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29006D92-54EA-4095-B14D-3F2EBC801F4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6263BBA-9B58-4439-9E7A-55F591D5CD5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D19242B-0047-41CE-8391-BCAB984BA1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92D5FD1A-26BF-4406-995E-4CDBC5A08F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F344EF94-4946-4699-AA88-944B87C195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458E981-2E19-462E-BF26-AEBDCA288496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txtChucVu">
            <a:extLst>
              <a:ext uri="{FF2B5EF4-FFF2-40B4-BE49-F238E27FC236}">
                <a16:creationId xmlns:a16="http://schemas.microsoft.com/office/drawing/2014/main" id="{B2CF31E5-30D7-41EE-8FAC-6D48EE2F1414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9E61B19-0F05-41C6-AADD-ADD7880B53F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8D988F17-0E91-4A23-B626-E61DB9A5EF6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3496DCC-2E05-44DC-9036-F60D62DAED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7DD3C9B9-C3D3-4039-98B8-21702F8D97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45F0FBB7-7044-431C-96C0-EA5128F08CC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C2AE9F9-1147-4A94-8AD7-A5F8FB0B5087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CAO HOÀNG PHỤ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7502370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5" r="5115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2218C2A-BB72-4BAD-944A-C9B5CFBDD62D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F47BE0DE-36FB-4BAE-8B30-C65FE2BE1AD6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6E646A08-47E0-4BB5-B3B9-A548D1490A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65D0B723-1A40-4DC1-BFDD-8FA4E39113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7715AFC7-321F-4BBB-AFBC-8F9618A90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CFEB75C-3246-458C-A54B-5193A4EA202E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txtChucVu">
            <a:extLst>
              <a:ext uri="{FF2B5EF4-FFF2-40B4-BE49-F238E27FC236}">
                <a16:creationId xmlns:a16="http://schemas.microsoft.com/office/drawing/2014/main" id="{699D5AB1-3B9D-47A4-9542-549BA3EFEF1A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5220220-0A77-4A70-8D60-8E557F38DC7A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C188E3DA-B2DA-4E21-9332-204E2C29E561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8C8DAF0-B5EE-46C8-84D7-951A97C42B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EB4EC95C-13BD-4324-BFC3-34F2D256FDB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73171629-2BF2-46A6-AB12-EF6B300F095E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3276423-3894-4E50-A483-9FBD04DA4A24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MINH XUÂ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0950823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1E3791A5-BA12-4219-9185-299E122CFCD2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7A3DD5-EEA4-49BC-BB5A-2238810B235A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D7912637-3674-466D-AE50-0243034253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5CFF83BC-CEA9-4C9C-9CE1-80CD14936D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0DD834B9-25B3-4BDA-B384-C69AA5F7E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AEDEFF4-69A6-4AE1-8760-03633C2591AF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txtChucVu">
            <a:extLst>
              <a:ext uri="{FF2B5EF4-FFF2-40B4-BE49-F238E27FC236}">
                <a16:creationId xmlns:a16="http://schemas.microsoft.com/office/drawing/2014/main" id="{5FFCAAE8-182C-491C-885F-FD6FA755C62D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7F6CB5D-6876-4C8B-A39E-BED4848B548F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229739B5-B7F1-4644-B3C3-24EE0A1D4245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06B641F-626C-4611-840E-8C5AD6B4A2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666F4DBA-BF91-4123-B9E7-5A91D80A44C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2C00C043-4EB0-4F94-91D5-B855BB46687D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BEB9056-F224-47B3-87BA-349F7300B5E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BÙI THỊ MI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43048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78EB1361-55D0-4AB3-ACA5-39F81611C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5257800" y="3581400"/>
            <a:ext cx="6858000" cy="1133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NHIỆM ỦY BAN KIỂM TRA TỈNH ỦY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512735-073D-4237-9F34-CA6B86C3390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7F3B38F-EED2-47AD-856A-771069A52E5C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077873D1-611F-48B5-83E9-B3A876FFD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DD85C238-4D9B-4F66-AF16-E191584CA6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4" name="Picture 23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EC0ED426-8166-48A2-9ADD-0B853A27B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AD8DA92-331D-4024-9437-7553EEC992C2}"/>
                </a:ext>
              </a:extLst>
            </p:cNvPr>
            <p:cNvSpPr txBox="1"/>
            <p:nvPr/>
          </p:nvSpPr>
          <p:spPr>
            <a:xfrm>
              <a:off x="3054142" y="494318"/>
              <a:ext cx="608371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N CHẤP HÀNH ĐẢNG BỘ TỈNH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1E098DD-92AC-4738-BBA3-62C4DC8FCC9A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E9164BE-20F4-462C-BE09-A9D553D38C76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E0285E9-6C76-4FEC-B552-548CF698BC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1" name="Light">
                <a:extLst>
                  <a:ext uri="{FF2B5EF4-FFF2-40B4-BE49-F238E27FC236}">
                    <a16:creationId xmlns:a16="http://schemas.microsoft.com/office/drawing/2014/main" id="{4249FAB5-E31A-4450-8749-C2CDC5C0199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52" name="Graphic 30">
                <a:extLst>
                  <a:ext uri="{FF2B5EF4-FFF2-40B4-BE49-F238E27FC236}">
                    <a16:creationId xmlns:a16="http://schemas.microsoft.com/office/drawing/2014/main" id="{0E649106-ADD1-4818-9E39-BE1B93A0B720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2D8A7C1-3CF1-4B00-B67C-B295917A7CC8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AN THANH DU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1681138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" b="51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6600335-0F82-40F4-A1BC-A5D511A74DF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323382F-4C9A-44ED-A880-951C8A6D65D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5C80890-3FAC-48EC-9313-5F0D7A4E36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5036F519-FF06-4F8D-8835-E99041D730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B83411A-69B5-44B6-BA0F-49DC7F4E09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22A3499-20A3-45A9-9A64-AC0DBCB83922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txtChucVu">
            <a:extLst>
              <a:ext uri="{FF2B5EF4-FFF2-40B4-BE49-F238E27FC236}">
                <a16:creationId xmlns:a16="http://schemas.microsoft.com/office/drawing/2014/main" id="{79768EF8-4DC9-4DB4-B5C3-3CD86B24EB2A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10B507E-656B-4A99-AC06-1227B2B98B34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B7DCFA4-C342-405D-AB86-D4E7FA179F64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825F223B-E1A8-40BC-8D90-CEDB07793F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8DFA06E5-E17A-4B85-A6A7-C91F3412F2A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B3446554-DB4A-4CDF-A0E7-2A661A0321E2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9C82386-9C87-4D1B-B767-102C8E1EA1E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HOÀNG NGHIỆP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4078096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435C2F47-CE81-4540-99F4-86593D73CDB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F012976-9386-4673-97F0-108BE6453645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A7610683-0D8A-4925-90DE-B771716B2C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3FE9AB4D-2372-4045-82F3-CAEA9B11F5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9135BE7-06C8-4751-83DE-7741ABC58B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2DC38FF-E97D-4735-9AF3-04A0E9563ECD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txtChucVu">
            <a:extLst>
              <a:ext uri="{FF2B5EF4-FFF2-40B4-BE49-F238E27FC236}">
                <a16:creationId xmlns:a16="http://schemas.microsoft.com/office/drawing/2014/main" id="{CD085478-6000-4BBA-A481-F6E6CF6C893D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31AE66E-B208-4D8F-9675-BBF585CF88C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95B601A-5CA8-4D6D-90E2-91F3612DD5C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DF25415-8CCD-450D-8E87-3D4E455828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71500B28-E2CA-4A3B-A180-3007EA96A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061E1CFC-D7D5-444D-BBB5-E669C85B9DD8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A63F6CF-E380-43D6-905B-713561CA98B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RỊNH THIÊN TÀI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8653888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F7827DA4-5AB0-42C8-93B0-DC6683724F29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C5B1A60-9D3B-447C-8B24-13C29CCB59CE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1B3D987-CB43-4E25-9F11-3DBAC69152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BE6F8219-4A1F-49EA-9A8D-B1C2F6DFD1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11CC1114-05D0-4F0B-9D15-79B2E78B40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EDCB264-A987-4717-A541-E71857B89FDB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txtChucVu">
            <a:extLst>
              <a:ext uri="{FF2B5EF4-FFF2-40B4-BE49-F238E27FC236}">
                <a16:creationId xmlns:a16="http://schemas.microsoft.com/office/drawing/2014/main" id="{03958FCB-E8A6-4CE6-B64E-09C9D9B6A847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VIÊN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73923F1-AE05-41C7-9FF2-BE8AF93F5415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76E0148-151B-4876-8BC2-C6C6EC009FE9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9A809743-0827-403A-9C9B-A92F2AB628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5" name="Light">
                <a:extLst>
                  <a:ext uri="{FF2B5EF4-FFF2-40B4-BE49-F238E27FC236}">
                    <a16:creationId xmlns:a16="http://schemas.microsoft.com/office/drawing/2014/main" id="{87DC7B89-5014-495A-8BE8-E25CE4565F8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6" name="Graphic 30">
                <a:extLst>
                  <a:ext uri="{FF2B5EF4-FFF2-40B4-BE49-F238E27FC236}">
                    <a16:creationId xmlns:a16="http://schemas.microsoft.com/office/drawing/2014/main" id="{2E676362-5F70-4D82-8CF2-E47086EEFD4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81838C6-01E9-411C-B9C3-EA033FB20CCE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VÕ THANH TUẤ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1840904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CADE8DC9-4906-5C47-370C-071A65461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24" name="Picture 23" descr="A circular pattern with animals and symbols&#10;&#10;Description automatically generated">
            <a:extLst>
              <a:ext uri="{FF2B5EF4-FFF2-40B4-BE49-F238E27FC236}">
                <a16:creationId xmlns:a16="http://schemas.microsoft.com/office/drawing/2014/main" id="{64A45422-4132-5F2C-5740-B9971ABD9B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1" r="6184"/>
          <a:stretch/>
        </p:blipFill>
        <p:spPr>
          <a:xfrm>
            <a:off x="3170394" y="-1"/>
            <a:ext cx="9014208" cy="302697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47D9B4F2-F47C-492B-BAB3-86ED1EBF41EC}"/>
              </a:ext>
            </a:extLst>
          </p:cNvPr>
          <p:cNvGrpSpPr/>
          <p:nvPr/>
        </p:nvGrpSpPr>
        <p:grpSpPr>
          <a:xfrm>
            <a:off x="-83565" y="19318"/>
            <a:ext cx="5236317" cy="6819364"/>
            <a:chOff x="-83565" y="19318"/>
            <a:chExt cx="5236317" cy="6819364"/>
          </a:xfrm>
        </p:grpSpPr>
        <p:pic>
          <p:nvPicPr>
            <p:cNvPr id="17" name="picRemDo">
              <a:extLst>
                <a:ext uri="{FF2B5EF4-FFF2-40B4-BE49-F238E27FC236}">
                  <a16:creationId xmlns:a16="http://schemas.microsoft.com/office/drawing/2014/main" id="{7725BCE4-0BF8-4F56-9050-02F88DDA75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20" t="447" b="3607"/>
            <a:stretch/>
          </p:blipFill>
          <p:spPr>
            <a:xfrm>
              <a:off x="-83565" y="19318"/>
              <a:ext cx="5236317" cy="6819364"/>
            </a:xfrm>
            <a:prstGeom prst="rect">
              <a:avLst/>
            </a:prstGeom>
          </p:spPr>
        </p:pic>
        <p:pic>
          <p:nvPicPr>
            <p:cNvPr id="18" name="picBuaLiemVang">
              <a:extLst>
                <a:ext uri="{FF2B5EF4-FFF2-40B4-BE49-F238E27FC236}">
                  <a16:creationId xmlns:a16="http://schemas.microsoft.com/office/drawing/2014/main" id="{8307BBDE-B2EC-442F-9AF3-90C87A525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2285" y="450061"/>
              <a:ext cx="1219200" cy="1063425"/>
            </a:xfrm>
            <a:prstGeom prst="rect">
              <a:avLst/>
            </a:prstGeom>
          </p:spPr>
        </p:pic>
      </p:grpSp>
      <p:pic>
        <p:nvPicPr>
          <p:cNvPr id="19" name="Picture 18" descr="C:\Users\Duong\Downloads\png 3.png">
            <a:extLst>
              <a:ext uri="{FF2B5EF4-FFF2-40B4-BE49-F238E27FC236}">
                <a16:creationId xmlns:a16="http://schemas.microsoft.com/office/drawing/2014/main" id="{74EF36A6-C61A-4E28-B44C-125B29D30E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16" y="3124200"/>
            <a:ext cx="8856784" cy="369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red fabric in the air&#10;&#10;Description automatically generated">
            <a:extLst>
              <a:ext uri="{FF2B5EF4-FFF2-40B4-BE49-F238E27FC236}">
                <a16:creationId xmlns:a16="http://schemas.microsoft.com/office/drawing/2014/main" id="{AE70BDFF-E0D9-CB1C-2EEB-A180A5B147F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6" t="32500" b="43467"/>
          <a:stretch/>
        </p:blipFill>
        <p:spPr>
          <a:xfrm>
            <a:off x="0" y="5581651"/>
            <a:ext cx="5236317" cy="12763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A2B8528-A868-029D-A7FA-582D6D707C74}"/>
              </a:ext>
            </a:extLst>
          </p:cNvPr>
          <p:cNvGrpSpPr/>
          <p:nvPr/>
        </p:nvGrpSpPr>
        <p:grpSpPr>
          <a:xfrm>
            <a:off x="9594593" y="646651"/>
            <a:ext cx="2193547" cy="878057"/>
            <a:chOff x="4762196" y="2546149"/>
            <a:chExt cx="4411048" cy="1765702"/>
          </a:xfrm>
        </p:grpSpPr>
        <p:pic>
          <p:nvPicPr>
            <p:cNvPr id="14" name="Picture 13" descr="A red flag with a yellow symbol&#10;&#10;Description automatically generated">
              <a:extLst>
                <a:ext uri="{FF2B5EF4-FFF2-40B4-BE49-F238E27FC236}">
                  <a16:creationId xmlns:a16="http://schemas.microsoft.com/office/drawing/2014/main" id="{6DF0E4FE-475C-6508-7223-2CADAAA9F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2196" y="2552500"/>
              <a:ext cx="2667608" cy="1752999"/>
            </a:xfrm>
            <a:prstGeom prst="rect">
              <a:avLst/>
            </a:prstGeom>
          </p:spPr>
        </p:pic>
        <p:pic>
          <p:nvPicPr>
            <p:cNvPr id="15" name="Picture 14" descr="A red flag with a yellow star&#10;&#10;Description automatically generated">
              <a:extLst>
                <a:ext uri="{FF2B5EF4-FFF2-40B4-BE49-F238E27FC236}">
                  <a16:creationId xmlns:a16="http://schemas.microsoft.com/office/drawing/2014/main" id="{575A1461-B7D6-2FB3-42E7-63DAB2DD5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5636" y="2546149"/>
              <a:ext cx="2667608" cy="1765702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9796B06-D7B1-EE77-8A3F-CD581B199A9A}"/>
              </a:ext>
            </a:extLst>
          </p:cNvPr>
          <p:cNvSpPr txBox="1"/>
          <p:nvPr/>
        </p:nvSpPr>
        <p:spPr>
          <a:xfrm>
            <a:off x="3273394" y="3037746"/>
            <a:ext cx="8271815" cy="659546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noProof="0"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HỦ NHIỆM, PHÓ CHỦ NHIỆM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5F4A40-C112-4143-A11A-92A1747ADAF8}"/>
              </a:ext>
            </a:extLst>
          </p:cNvPr>
          <p:cNvSpPr txBox="1"/>
          <p:nvPr/>
        </p:nvSpPr>
        <p:spPr>
          <a:xfrm>
            <a:off x="3712073" y="3846873"/>
            <a:ext cx="7394460" cy="572727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sz="3000" b="1" spc="-100"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ỦY BAN KIỂM TRA, NHIỆM KỲ 2025 - 2030</a:t>
            </a:r>
            <a:endParaRPr lang="vi-VN" sz="3000" b="1" spc="-100" dirty="0"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738885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143163F2-F09D-4331-B5AE-018E70896E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CD4BDAC7-EDCC-46B6-8B46-8E8711139337}"/>
              </a:ext>
            </a:extLst>
          </p:cNvPr>
          <p:cNvSpPr txBox="1"/>
          <p:nvPr/>
        </p:nvSpPr>
        <p:spPr>
          <a:xfrm>
            <a:off x="5257800" y="3581400"/>
            <a:ext cx="6859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ỦY VIÊN BAN THƯỜNG VỤ TỈNH ỦY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TỊCH ỦY BAN NHÂN DÂN TỈNH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CHỦ NHIỆM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2B0A28-3CA8-4757-AA5F-F089FF4BC3CA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6F35ECC-52C3-49D9-BFAB-4B7B43540628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74C609BD-C45D-454A-B698-9226A5D045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F2B04D99-08C6-4EBB-AD0C-1C01AC7259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3F6532FB-B899-4684-A0F9-E1BE6A6E80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9DCA74A-EDFE-4549-8C9C-BCBB6B1548F8}"/>
                </a:ext>
              </a:extLst>
            </p:cNvPr>
            <p:cNvSpPr txBox="1"/>
            <p:nvPr/>
          </p:nvSpPr>
          <p:spPr>
            <a:xfrm>
              <a:off x="3531840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B7FB07B-8A8A-468A-AD14-605E0220A1D1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BE06D6-DCA4-4147-B39C-AF5C2EE74518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9D659F9-F03A-406E-A8E2-A914048F20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2BE6CDD0-7B1C-44C6-99D9-D5E6822708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28EC31F2-1A47-4423-A665-5ED55C77E0C2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7AD9C74-A922-4B8B-9B9A-4C0E31677C03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HUỲNH HỮU TRÍ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0108785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7D381039-895B-4431-8A3B-37F5195BF1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" r="5157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4" name="txtChucVu">
            <a:extLst>
              <a:ext uri="{FF2B5EF4-FFF2-40B4-BE49-F238E27FC236}">
                <a16:creationId xmlns:a16="http://schemas.microsoft.com/office/drawing/2014/main" id="{ACE0EC38-855E-4BA3-B593-F8FC7282594C}"/>
              </a:ext>
            </a:extLst>
          </p:cNvPr>
          <p:cNvSpPr txBox="1"/>
          <p:nvPr/>
        </p:nvSpPr>
        <p:spPr>
          <a:xfrm>
            <a:off x="5257800" y="3581400"/>
            <a:ext cx="7240693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TỈNH ỦY VIÊN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- PHÓ CHỦ NHIỆM THƯỜNG TRỰC</a:t>
            </a:r>
          </a:p>
          <a:p>
            <a:pPr>
              <a:lnSpc>
                <a:spcPct val="150000"/>
              </a:lnSpc>
              <a:defRPr/>
            </a:pPr>
            <a:r>
              <a:rPr lang="zh-CN" altLang="en-US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</a:t>
            </a:r>
            <a:r>
              <a:rPr lang="zh-CN" altLang="en-US" sz="10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988E1A2-B52E-490E-897A-5668D76D462C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88BBD23-3DD5-4CA1-98AD-D21B78186EF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8" name="Picture 37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F51CD82D-0690-4E50-9029-BF1B033A37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42" name="Picture 41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CC9B518A-6A1A-4E00-8FDF-43DF826500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36" name="Picture 35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98AA1E85-FA29-4EC3-AFF2-0F808A4CB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6A418A5-417C-4A79-81B7-FB85E7131B3D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81DB290-10E7-4402-A571-3E9FB5297428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D82475E7-32F5-4BA7-9AEF-5334E92A222B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D8FAD9B-7BB7-4E54-AE55-2CA4C69D8E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Light">
                <a:extLst>
                  <a:ext uri="{FF2B5EF4-FFF2-40B4-BE49-F238E27FC236}">
                    <a16:creationId xmlns:a16="http://schemas.microsoft.com/office/drawing/2014/main" id="{897502F4-43A2-4C62-BA46-6287549CA6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8" name="Graphic 30">
                <a:extLst>
                  <a:ext uri="{FF2B5EF4-FFF2-40B4-BE49-F238E27FC236}">
                    <a16:creationId xmlns:a16="http://schemas.microsoft.com/office/drawing/2014/main" id="{D97F67CD-4447-4A6C-8760-B3C11962118C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0D174D3-BDA9-464C-9B09-B041EF23C740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NGUYỄN MINH NHỨ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95793646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xtChucVu">
            <a:extLst>
              <a:ext uri="{FF2B5EF4-FFF2-40B4-BE49-F238E27FC236}">
                <a16:creationId xmlns:a16="http://schemas.microsoft.com/office/drawing/2014/main" id="{63FE1A27-B621-4230-B86A-2DB12AF7D313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 PHÓ CHỦ NHIỆM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5B442D65-670A-492D-8081-5AC7BC4D18C5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FB51B01-79FD-4181-B91F-E1FAACF6A394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9AB39525-FFFA-4FD4-A261-D3CA513EDA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E6BE4120-CE65-4FB2-8559-382F97336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5" name="Picture 24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867D0981-7F57-4853-9AB7-25D7A467F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C445779-8D4E-44C1-84D1-61B878CB2EC5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72DBE76-01FF-4F16-B38E-57EADA328773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8D908C0-71C5-473C-898D-975EF9B641F9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763F2E6-B60F-47D6-9903-34E6895E4A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5C8DB551-5B8D-4302-A0DB-3CE7C21C37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D914A588-2AAA-408F-88FC-E6D8CDF9876F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33273EA-7F55-4923-A14E-92B3069419C1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ẠM THANH CHỜ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8088613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A6A58E9-084B-4D02-B8CA-FAC877908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" b="464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sp>
        <p:nvSpPr>
          <p:cNvPr id="25" name="txtChucVu">
            <a:extLst>
              <a:ext uri="{FF2B5EF4-FFF2-40B4-BE49-F238E27FC236}">
                <a16:creationId xmlns:a16="http://schemas.microsoft.com/office/drawing/2014/main" id="{035B90E1-1C6E-4631-9A31-D31EE5500EE8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 PHÓ CHỦ NHIỆM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2E99F7B-F6CF-46E5-9A9E-FDB7D4ECC0B6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7258CA1-3BB0-42D5-9CB2-A875AFCEFD3D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31" name="Picture 30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E83B0C25-B92A-4D89-B87C-86920CED26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6" name="Picture 35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84A4E255-68EB-4847-A9CC-B820EE73B0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8" name="Picture 27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09E78213-D83D-45E1-885E-5C1824EE1A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27302EF-DE46-4F5A-BDB7-DCD774042578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2E256B0-8B0A-4E21-AC1E-4F10C80AAFDC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16F10DE-041D-4632-BA20-40D1E7DDFCA0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6A8CA0-F5FB-4F3E-8FED-30E9082503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Light">
                <a:extLst>
                  <a:ext uri="{FF2B5EF4-FFF2-40B4-BE49-F238E27FC236}">
                    <a16:creationId xmlns:a16="http://schemas.microsoft.com/office/drawing/2014/main" id="{816C9835-FBB1-4432-A590-E5CF509BB5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5" name="Graphic 30">
                <a:extLst>
                  <a:ext uri="{FF2B5EF4-FFF2-40B4-BE49-F238E27FC236}">
                    <a16:creationId xmlns:a16="http://schemas.microsoft.com/office/drawing/2014/main" id="{995DD7D0-D507-4316-89F7-5E3ABDCCB50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E9AA3E7-7FC3-47B3-A1C1-1BDDE5434CD6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TỪ CÔNG THÀN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65711990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xtChucVu">
            <a:extLst>
              <a:ext uri="{FF2B5EF4-FFF2-40B4-BE49-F238E27FC236}">
                <a16:creationId xmlns:a16="http://schemas.microsoft.com/office/drawing/2014/main" id="{88D6CEBE-10E6-4D6D-BC46-995086E98886}"/>
              </a:ext>
            </a:extLst>
          </p:cNvPr>
          <p:cNvSpPr txBox="1"/>
          <p:nvPr/>
        </p:nvSpPr>
        <p:spPr>
          <a:xfrm>
            <a:off x="4191001" y="3581400"/>
            <a:ext cx="8000999" cy="579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zh-CN" sz="2400" b="1">
                <a:solidFill>
                  <a:prstClr val="white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  PHÓ CHỦ NHIỆM ỦY BAN KIỂM TRA</a:t>
            </a:r>
            <a:endParaRPr lang="zh-CN" altLang="en-US" sz="2400" b="1" dirty="0">
              <a:solidFill>
                <a:prstClr val="white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362F3D-B5FC-404D-8C13-82245A87CB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" b="522"/>
          <a:stretch/>
        </p:blipFill>
        <p:spPr>
          <a:xfrm>
            <a:off x="1043021" y="1435650"/>
            <a:ext cx="3147979" cy="468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innerShdw blurRad="114300">
              <a:prstClr val="black"/>
            </a:innerShdw>
            <a:reflection blurRad="12700" stA="38000" endPos="28000" dist="5000" dir="5400000" sy="-100000" algn="bl" rotWithShape="0"/>
          </a:effec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965A502-6D0C-481C-B0B0-8267CC6D4AF1}"/>
              </a:ext>
            </a:extLst>
          </p:cNvPr>
          <p:cNvGrpSpPr/>
          <p:nvPr/>
        </p:nvGrpSpPr>
        <p:grpSpPr>
          <a:xfrm>
            <a:off x="933935" y="152399"/>
            <a:ext cx="10324131" cy="1159059"/>
            <a:chOff x="685800" y="152399"/>
            <a:chExt cx="10324131" cy="115905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C4782D0-5329-45E0-AB7E-74F5258C1E83}"/>
                </a:ext>
              </a:extLst>
            </p:cNvPr>
            <p:cNvGrpSpPr/>
            <p:nvPr/>
          </p:nvGrpSpPr>
          <p:grpSpPr>
            <a:xfrm>
              <a:off x="685800" y="292900"/>
              <a:ext cx="2193547" cy="878057"/>
              <a:chOff x="4762196" y="2546149"/>
              <a:chExt cx="4411048" cy="1765702"/>
            </a:xfrm>
          </p:grpSpPr>
          <p:pic>
            <p:nvPicPr>
              <p:cNvPr id="29" name="Picture 28" descr="A red flag with a yellow symbol&#10;&#10;Description automatically generated">
                <a:extLst>
                  <a:ext uri="{FF2B5EF4-FFF2-40B4-BE49-F238E27FC236}">
                    <a16:creationId xmlns:a16="http://schemas.microsoft.com/office/drawing/2014/main" id="{44032978-D6B5-47EF-A28E-48D04C2FFF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2196" y="2552500"/>
                <a:ext cx="2667608" cy="1752999"/>
              </a:xfrm>
              <a:prstGeom prst="rect">
                <a:avLst/>
              </a:prstGeom>
            </p:spPr>
          </p:pic>
          <p:pic>
            <p:nvPicPr>
              <p:cNvPr id="31" name="Picture 30" descr="A red flag with a yellow star&#10;&#10;Description automatically generated">
                <a:extLst>
                  <a:ext uri="{FF2B5EF4-FFF2-40B4-BE49-F238E27FC236}">
                    <a16:creationId xmlns:a16="http://schemas.microsoft.com/office/drawing/2014/main" id="{A62AB35E-1ED1-44C5-BDCF-3CAAC8C905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05636" y="2546149"/>
                <a:ext cx="2667608" cy="1765702"/>
              </a:xfrm>
              <a:prstGeom prst="rect">
                <a:avLst/>
              </a:prstGeom>
            </p:spPr>
          </p:pic>
        </p:grpSp>
        <p:pic>
          <p:nvPicPr>
            <p:cNvPr id="27" name="Picture 26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A8AD163B-811B-4A96-B469-49D712F8EF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992" y="152399"/>
              <a:ext cx="1621939" cy="1159059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5246831-CB02-4051-A856-6D59C9CFF4CC}"/>
                </a:ext>
              </a:extLst>
            </p:cNvPr>
            <p:cNvSpPr txBox="1"/>
            <p:nvPr/>
          </p:nvSpPr>
          <p:spPr>
            <a:xfrm>
              <a:off x="3531837" y="494318"/>
              <a:ext cx="5128327" cy="535567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756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357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97980">
                        <a:srgbClr val="F9E2BA"/>
                      </a:gs>
                      <a:gs pos="83000">
                        <a:srgbClr val="FBEED2"/>
                      </a:gs>
                      <a:gs pos="70000">
                        <a:srgbClr val="D9BFA1"/>
                      </a:gs>
                      <a:gs pos="51000">
                        <a:srgbClr val="E8CFA1"/>
                      </a:gs>
                      <a:gs pos="31000">
                        <a:srgbClr val="FADBA2"/>
                      </a:gs>
                      <a:gs pos="0">
                        <a:srgbClr val="FBEFD0"/>
                      </a:gs>
                    </a:gsLst>
                    <a:lin ang="0" scaled="0"/>
                  </a:gra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ỦY BAN KIỂM TRA TỈNH ỦY</a:t>
              </a:r>
              <a:endParaRPr kumimoji="0" lang="vi-VN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97980">
                      <a:srgbClr val="F9E2BA"/>
                    </a:gs>
                    <a:gs pos="83000">
                      <a:srgbClr val="FBEED2"/>
                    </a:gs>
                    <a:gs pos="70000">
                      <a:srgbClr val="D9BFA1"/>
                    </a:gs>
                    <a:gs pos="51000">
                      <a:srgbClr val="E8CFA1"/>
                    </a:gs>
                    <a:gs pos="31000">
                      <a:srgbClr val="FADBA2"/>
                    </a:gs>
                    <a:gs pos="0">
                      <a:srgbClr val="FBEFD0"/>
                    </a:gs>
                  </a:gsLst>
                  <a:lin ang="0" scaled="0"/>
                </a:gra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E7F9F4E-1D10-4259-871E-E9D20E32A522}"/>
              </a:ext>
            </a:extLst>
          </p:cNvPr>
          <p:cNvGrpSpPr/>
          <p:nvPr/>
        </p:nvGrpSpPr>
        <p:grpSpPr>
          <a:xfrm>
            <a:off x="4267201" y="2320255"/>
            <a:ext cx="7919865" cy="1261145"/>
            <a:chOff x="4267201" y="2320255"/>
            <a:chExt cx="7919865" cy="1261145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432D3E06-BB22-481E-8EDE-D0EA730BBC02}"/>
                </a:ext>
              </a:extLst>
            </p:cNvPr>
            <p:cNvGrpSpPr/>
            <p:nvPr/>
          </p:nvGrpSpPr>
          <p:grpSpPr>
            <a:xfrm>
              <a:off x="5930248" y="2849322"/>
              <a:ext cx="4593771" cy="732078"/>
              <a:chOff x="1549477" y="3104359"/>
              <a:chExt cx="4593771" cy="732078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DBC8313-10E9-451F-99A6-256AF0D378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9477" y="3396364"/>
                <a:ext cx="4593771" cy="0"/>
              </a:xfrm>
              <a:prstGeom prst="line">
                <a:avLst/>
              </a:prstGeom>
              <a:ln w="9525">
                <a:gradFill>
                  <a:gsLst>
                    <a:gs pos="0">
                      <a:srgbClr val="FBEED2"/>
                    </a:gs>
                    <a:gs pos="100000">
                      <a:srgbClr val="D9BFA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3" name="Light">
                <a:extLst>
                  <a:ext uri="{FF2B5EF4-FFF2-40B4-BE49-F238E27FC236}">
                    <a16:creationId xmlns:a16="http://schemas.microsoft.com/office/drawing/2014/main" id="{8E3F48E8-130F-4627-9FC0-FCF8BDDB952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 t="17637" r="2814" b="31905"/>
              <a:stretch/>
            </p:blipFill>
            <p:spPr>
              <a:xfrm rot="10800000">
                <a:off x="1700685" y="3104359"/>
                <a:ext cx="4291356" cy="732078"/>
              </a:xfrm>
              <a:custGeom>
                <a:avLst/>
                <a:gdLst>
                  <a:gd name="connsiteX0" fmla="*/ 0 w 7506518"/>
                  <a:gd name="connsiteY0" fmla="*/ 0 h 1681655"/>
                  <a:gd name="connsiteX1" fmla="*/ 7506519 w 7506518"/>
                  <a:gd name="connsiteY1" fmla="*/ 0 h 1681655"/>
                  <a:gd name="connsiteX2" fmla="*/ 7506519 w 7506518"/>
                  <a:gd name="connsiteY2" fmla="*/ 1681655 h 1681655"/>
                  <a:gd name="connsiteX3" fmla="*/ 0 w 7506518"/>
                  <a:gd name="connsiteY3" fmla="*/ 1681655 h 1681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6518" h="1681655">
                    <a:moveTo>
                      <a:pt x="0" y="0"/>
                    </a:moveTo>
                    <a:lnTo>
                      <a:pt x="7506519" y="0"/>
                    </a:lnTo>
                    <a:lnTo>
                      <a:pt x="7506519" y="1681655"/>
                    </a:lnTo>
                    <a:lnTo>
                      <a:pt x="0" y="1681655"/>
                    </a:lnTo>
                    <a:close/>
                  </a:path>
                </a:pathLst>
              </a:custGeom>
            </p:spPr>
          </p:pic>
          <p:sp>
            <p:nvSpPr>
              <p:cNvPr id="44" name="Graphic 30">
                <a:extLst>
                  <a:ext uri="{FF2B5EF4-FFF2-40B4-BE49-F238E27FC236}">
                    <a16:creationId xmlns:a16="http://schemas.microsoft.com/office/drawing/2014/main" id="{CFA31065-BA92-4C41-9749-9E2B93A3C607}"/>
                  </a:ext>
                </a:extLst>
              </p:cNvPr>
              <p:cNvSpPr/>
              <p:nvPr/>
            </p:nvSpPr>
            <p:spPr>
              <a:xfrm rot="13500000">
                <a:off x="3768420" y="3355368"/>
                <a:ext cx="98107" cy="98107"/>
              </a:xfrm>
              <a:custGeom>
                <a:avLst/>
                <a:gdLst>
                  <a:gd name="connsiteX0" fmla="*/ 89821 w 98107"/>
                  <a:gd name="connsiteY0" fmla="*/ 0 h 98107"/>
                  <a:gd name="connsiteX1" fmla="*/ 98108 w 98107"/>
                  <a:gd name="connsiteY1" fmla="*/ 8287 h 98107"/>
                  <a:gd name="connsiteX2" fmla="*/ 98108 w 98107"/>
                  <a:gd name="connsiteY2" fmla="*/ 89821 h 98107"/>
                  <a:gd name="connsiteX3" fmla="*/ 89821 w 98107"/>
                  <a:gd name="connsiteY3" fmla="*/ 98108 h 98107"/>
                  <a:gd name="connsiteX4" fmla="*/ 8287 w 98107"/>
                  <a:gd name="connsiteY4" fmla="*/ 98108 h 98107"/>
                  <a:gd name="connsiteX5" fmla="*/ 0 w 98107"/>
                  <a:gd name="connsiteY5" fmla="*/ 89821 h 98107"/>
                  <a:gd name="connsiteX6" fmla="*/ 0 w 98107"/>
                  <a:gd name="connsiteY6" fmla="*/ 8287 h 98107"/>
                  <a:gd name="connsiteX7" fmla="*/ 8287 w 98107"/>
                  <a:gd name="connsiteY7" fmla="*/ 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07" h="98107">
                    <a:moveTo>
                      <a:pt x="89821" y="0"/>
                    </a:moveTo>
                    <a:cubicBezTo>
                      <a:pt x="94397" y="0"/>
                      <a:pt x="98108" y="3710"/>
                      <a:pt x="98108" y="8287"/>
                    </a:cubicBezTo>
                    <a:lnTo>
                      <a:pt x="98108" y="89821"/>
                    </a:lnTo>
                    <a:cubicBezTo>
                      <a:pt x="98108" y="94397"/>
                      <a:pt x="94397" y="98108"/>
                      <a:pt x="89821" y="98108"/>
                    </a:cubicBezTo>
                    <a:lnTo>
                      <a:pt x="8287" y="98108"/>
                    </a:lnTo>
                    <a:cubicBezTo>
                      <a:pt x="3710" y="98108"/>
                      <a:pt x="0" y="94397"/>
                      <a:pt x="0" y="89821"/>
                    </a:cubicBezTo>
                    <a:lnTo>
                      <a:pt x="0" y="8287"/>
                    </a:lnTo>
                    <a:cubicBezTo>
                      <a:pt x="0" y="3710"/>
                      <a:pt x="3710" y="0"/>
                      <a:pt x="8287" y="0"/>
                    </a:cubicBezTo>
                    <a:close/>
                  </a:path>
                </a:pathLst>
              </a:custGeom>
              <a:gradFill>
                <a:gsLst>
                  <a:gs pos="48500">
                    <a:srgbClr val="F9E2BA"/>
                  </a:gs>
                  <a:gs pos="0">
                    <a:srgbClr val="D9BFA1"/>
                  </a:gs>
                  <a:gs pos="81000">
                    <a:srgbClr val="FADBA2"/>
                  </a:gs>
                  <a:gs pos="100000">
                    <a:srgbClr val="E8CFA1"/>
                  </a:gs>
                </a:gsLst>
                <a:lin ang="1890000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vi-VN" sz="18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11A55D8-8737-4FD5-ACFE-89271625DF09}"/>
                </a:ext>
              </a:extLst>
            </p:cNvPr>
            <p:cNvSpPr txBox="1"/>
            <p:nvPr/>
          </p:nvSpPr>
          <p:spPr>
            <a:xfrm>
              <a:off x="4267201" y="2320255"/>
              <a:ext cx="7919865" cy="738058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75600" rtlCol="0">
              <a:spAutoFit/>
            </a:bodyPr>
            <a:lstStyle/>
            <a:p>
              <a:pPr algn="ctr">
                <a:defRPr/>
              </a:pPr>
              <a:r>
                <a:rPr lang="en-US" sz="3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Đồng chí</a:t>
              </a:r>
              <a:r>
                <a:rPr lang="en-US" sz="4000" b="1" spc="-89">
                  <a:solidFill>
                    <a:srgbClr val="FFFF00"/>
                  </a:solidFill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sz="4000" b="1" i="0" u="none" strike="noStrike" kern="1200" cap="none" spc="-89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Baskerville" panose="02020502070401020303" pitchFamily="18" charset="0"/>
                  <a:cs typeface="Times New Roman" panose="02020603050405020304" pitchFamily="18" charset="0"/>
                </a:rPr>
                <a:t>PHAN TRỌNG NGHĨ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56220206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orange striped surface&#10;&#10;Description automatically generated">
            <a:extLst>
              <a:ext uri="{FF2B5EF4-FFF2-40B4-BE49-F238E27FC236}">
                <a16:creationId xmlns:a16="http://schemas.microsoft.com/office/drawing/2014/main" id="{CADE8DC9-4906-5C47-370C-071A65461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" y="0"/>
            <a:ext cx="12184602" cy="6858000"/>
          </a:xfrm>
          <a:prstGeom prst="rect">
            <a:avLst/>
          </a:prstGeom>
        </p:spPr>
      </p:pic>
      <p:pic>
        <p:nvPicPr>
          <p:cNvPr id="24" name="Picture 23" descr="A circular pattern with animals and symbols&#10;&#10;Description automatically generated">
            <a:extLst>
              <a:ext uri="{FF2B5EF4-FFF2-40B4-BE49-F238E27FC236}">
                <a16:creationId xmlns:a16="http://schemas.microsoft.com/office/drawing/2014/main" id="{64A45422-4132-5F2C-5740-B9971ABD9BD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1" r="6184"/>
          <a:stretch/>
        </p:blipFill>
        <p:spPr>
          <a:xfrm>
            <a:off x="3170394" y="-1"/>
            <a:ext cx="9014208" cy="302697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990E22B-B33F-4AAB-BAA4-26B8215846AD}"/>
              </a:ext>
            </a:extLst>
          </p:cNvPr>
          <p:cNvGrpSpPr/>
          <p:nvPr/>
        </p:nvGrpSpPr>
        <p:grpSpPr>
          <a:xfrm>
            <a:off x="-83565" y="19318"/>
            <a:ext cx="5236317" cy="6819364"/>
            <a:chOff x="-83565" y="19318"/>
            <a:chExt cx="5236317" cy="6819364"/>
          </a:xfrm>
        </p:grpSpPr>
        <p:pic>
          <p:nvPicPr>
            <p:cNvPr id="17" name="picRemDo">
              <a:extLst>
                <a:ext uri="{FF2B5EF4-FFF2-40B4-BE49-F238E27FC236}">
                  <a16:creationId xmlns:a16="http://schemas.microsoft.com/office/drawing/2014/main" id="{50D5481A-3E26-44AD-AF85-193BE2FF6F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20" t="447" b="3607"/>
            <a:stretch/>
          </p:blipFill>
          <p:spPr>
            <a:xfrm>
              <a:off x="-83565" y="19318"/>
              <a:ext cx="5236317" cy="6819364"/>
            </a:xfrm>
            <a:prstGeom prst="rect">
              <a:avLst/>
            </a:prstGeom>
          </p:spPr>
        </p:pic>
        <p:pic>
          <p:nvPicPr>
            <p:cNvPr id="18" name="picBuaLiemVang">
              <a:extLst>
                <a:ext uri="{FF2B5EF4-FFF2-40B4-BE49-F238E27FC236}">
                  <a16:creationId xmlns:a16="http://schemas.microsoft.com/office/drawing/2014/main" id="{79E752E7-265A-4C19-90D8-15F5F8A11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2285" y="450061"/>
              <a:ext cx="1219200" cy="1063425"/>
            </a:xfrm>
            <a:prstGeom prst="rect">
              <a:avLst/>
            </a:prstGeom>
          </p:spPr>
        </p:pic>
      </p:grpSp>
      <p:pic>
        <p:nvPicPr>
          <p:cNvPr id="11" name="Picture 10" descr="A red fabric in the air&#10;&#10;Description automatically generated">
            <a:extLst>
              <a:ext uri="{FF2B5EF4-FFF2-40B4-BE49-F238E27FC236}">
                <a16:creationId xmlns:a16="http://schemas.microsoft.com/office/drawing/2014/main" id="{AE70BDFF-E0D9-CB1C-2EEB-A180A5B147F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6" t="32500" b="43467"/>
          <a:stretch/>
        </p:blipFill>
        <p:spPr>
          <a:xfrm>
            <a:off x="0" y="5581651"/>
            <a:ext cx="5236317" cy="127635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C:\Users\Duong\Downloads\png 3.png">
            <a:extLst>
              <a:ext uri="{FF2B5EF4-FFF2-40B4-BE49-F238E27FC236}">
                <a16:creationId xmlns:a16="http://schemas.microsoft.com/office/drawing/2014/main" id="{23D69416-17F0-4B75-BD86-166F26006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16" y="3124200"/>
            <a:ext cx="8856784" cy="369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15D7EEE-73D9-478B-9C31-8A1FD7BB0E0C}"/>
              </a:ext>
            </a:extLst>
          </p:cNvPr>
          <p:cNvGrpSpPr/>
          <p:nvPr/>
        </p:nvGrpSpPr>
        <p:grpSpPr>
          <a:xfrm>
            <a:off x="8645914" y="333577"/>
            <a:ext cx="3393686" cy="1450329"/>
            <a:chOff x="6473065" y="776111"/>
            <a:chExt cx="3393686" cy="1450329"/>
          </a:xfrm>
        </p:grpSpPr>
        <p:pic>
          <p:nvPicPr>
            <p:cNvPr id="19" name="Picture 18" descr="A person with a beard and a person with a mustache&#10;&#10;Description automatically generated">
              <a:extLst>
                <a:ext uri="{FF2B5EF4-FFF2-40B4-BE49-F238E27FC236}">
                  <a16:creationId xmlns:a16="http://schemas.microsoft.com/office/drawing/2014/main" id="{2475D94C-7170-4D1F-A3B9-2E90CCEF3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5087" y="776111"/>
              <a:ext cx="1469630" cy="1050219"/>
            </a:xfrm>
            <a:prstGeom prst="rect">
              <a:avLst/>
            </a:prstGeom>
          </p:spPr>
        </p:pic>
        <p:sp>
          <p:nvSpPr>
            <p:cNvPr id="21" name="Text">
              <a:extLst>
                <a:ext uri="{FF2B5EF4-FFF2-40B4-BE49-F238E27FC236}">
                  <a16:creationId xmlns:a16="http://schemas.microsoft.com/office/drawing/2014/main" id="{53484B1A-D131-434B-8969-A6A9FD3001E7}"/>
                </a:ext>
              </a:extLst>
            </p:cNvPr>
            <p:cNvSpPr txBox="1"/>
            <p:nvPr/>
          </p:nvSpPr>
          <p:spPr>
            <a:xfrm>
              <a:off x="6473065" y="1826330"/>
              <a:ext cx="3393686" cy="400110"/>
            </a:xfrm>
            <a:prstGeom prst="rect">
              <a:avLst/>
            </a:prstGeom>
            <a:noFill/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1200" cap="none" spc="94" normalizeH="0" baseline="0" noProof="0">
                  <a:ln>
                    <a:noFill/>
                  </a:ln>
                  <a:solidFill>
                    <a:srgbClr val="EB1C24"/>
                  </a:solidFill>
                  <a:effectLst/>
                  <a:uLnTx/>
                  <a:uFillTx/>
                  <a:latin typeface="Arial" panose="020B0604020202020204" pitchFamily="34" charset="0"/>
                  <a:ea typeface="MiSans Heavy" panose="00000A00000000000000" charset="-122"/>
                  <a:cs typeface="Arial" panose="020B0604020202020204" pitchFamily="34" charset="0"/>
                </a:rPr>
                <a:t>ĐẢNG BỘ TỈNH</a:t>
              </a:r>
              <a:r>
                <a:rPr kumimoji="0" lang="en-US" altLang="zh-CN" sz="2000" b="1" i="0" u="none" strike="noStrike" kern="1200" cap="none" spc="94" normalizeH="0" noProof="0">
                  <a:ln>
                    <a:noFill/>
                  </a:ln>
                  <a:solidFill>
                    <a:srgbClr val="EB1C24"/>
                  </a:solidFill>
                  <a:effectLst/>
                  <a:uLnTx/>
                  <a:uFillTx/>
                  <a:latin typeface="Arial" panose="020B0604020202020204" pitchFamily="34" charset="0"/>
                  <a:ea typeface="MiSans Heavy" panose="00000A00000000000000" charset="-122"/>
                  <a:cs typeface="Arial" panose="020B0604020202020204" pitchFamily="34" charset="0"/>
                </a:rPr>
                <a:t> CÀ MAU</a:t>
              </a:r>
              <a:endParaRPr kumimoji="0" lang="zh-CN" altLang="en-US" sz="2000" b="1" i="0" u="none" strike="noStrike" kern="1200" cap="none" spc="94" normalizeH="0" baseline="0" noProof="0">
                <a:ln>
                  <a:noFill/>
                </a:ln>
                <a:solidFill>
                  <a:srgbClr val="EB1C24"/>
                </a:solidFill>
                <a:effectLst/>
                <a:uLnTx/>
                <a:uFillTx/>
                <a:latin typeface="Arial" panose="020B0604020202020204" pitchFamily="34" charset="0"/>
                <a:ea typeface="MiSans Heavy" panose="00000A00000000000000" charset="-122"/>
                <a:cs typeface="Arial" panose="020B0604020202020204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D19012DB-B930-4207-8C7B-E02F99EFD247}"/>
              </a:ext>
            </a:extLst>
          </p:cNvPr>
          <p:cNvSpPr txBox="1"/>
          <p:nvPr/>
        </p:nvSpPr>
        <p:spPr>
          <a:xfrm>
            <a:off x="3276600" y="2743200"/>
            <a:ext cx="8361583" cy="1812745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40" tIns="45720" rIns="91440" bIns="576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214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ĐẠI HỘI LẦN THỨ I</a:t>
            </a:r>
            <a:endParaRPr kumimoji="0" lang="en-US" sz="70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NHIỆM</a:t>
            </a:r>
            <a:r>
              <a:rPr kumimoji="0" lang="en-US" sz="4200" b="1" i="0" u="none" strike="noStrike" kern="1200" cap="none" spc="0" normalizeH="0" noProof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US" sz="4200" b="1" i="0" u="none" strike="noStrike" kern="1200" cap="none" spc="0" normalizeH="0" noProof="0" dirty="0">
                <a:ln>
                  <a:noFill/>
                </a:ln>
                <a:gradFill>
                  <a:gsLst>
                    <a:gs pos="100000">
                      <a:srgbClr val="B41E23"/>
                    </a:gs>
                    <a:gs pos="0">
                      <a:srgbClr val="EB1C2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KỲ 2025 - 2030</a:t>
            </a:r>
            <a:endParaRPr kumimoji="0" lang="vi-VN" sz="42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B41E23"/>
                  </a:gs>
                  <a:gs pos="0">
                    <a:srgbClr val="EB1C24"/>
                  </a:gs>
                </a:gsLst>
                <a:lin ang="5400000" scaled="1"/>
              </a:gra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1936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9Slide.vn</Template>
  <TotalTime>6432</TotalTime>
  <Words>3149</Words>
  <Application>Microsoft Office PowerPoint</Application>
  <PresentationFormat>Widescreen</PresentationFormat>
  <Paragraphs>531</Paragraphs>
  <Slides>13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4</vt:i4>
      </vt:variant>
    </vt:vector>
  </HeadingPairs>
  <TitlesOfParts>
    <vt:vector size="140" baseType="lpstr">
      <vt:lpstr>Arial</vt:lpstr>
      <vt:lpstr>Aptos</vt:lpstr>
      <vt:lpstr>Times New Roman</vt:lpstr>
      <vt:lpstr>Tahoma</vt:lpstr>
      <vt:lpstr>Aptos Display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9Slide.vn</Manager>
  <Company>9Slide.v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9Slide.vn</dc:title>
  <dc:subject>9Slide.vn</dc:subject>
  <dc:creator>HP</dc:creator>
  <cp:keywords>9Slide</cp:keywords>
  <dc:description>9Slide.vn</dc:description>
  <cp:lastModifiedBy>Huynh Anh Dat</cp:lastModifiedBy>
  <cp:revision>409</cp:revision>
  <dcterms:created xsi:type="dcterms:W3CDTF">2024-04-15T01:35:21Z</dcterms:created>
  <dcterms:modified xsi:type="dcterms:W3CDTF">2025-10-14T13:35:28Z</dcterms:modified>
  <cp:category>9Slide.vn</cp:category>
  <cp:contentStatus>9Slide</cp:contentStatus>
</cp:coreProperties>
</file>